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422" r:id="rId2"/>
    <p:sldId id="400" r:id="rId3"/>
    <p:sldId id="482" r:id="rId4"/>
    <p:sldId id="256" r:id="rId5"/>
    <p:sldId id="2147473063" r:id="rId6"/>
    <p:sldId id="2147473091" r:id="rId7"/>
    <p:sldId id="2147473101" r:id="rId8"/>
    <p:sldId id="2147473065" r:id="rId9"/>
    <p:sldId id="2147473066" r:id="rId10"/>
    <p:sldId id="2147473068" r:id="rId11"/>
    <p:sldId id="2147473098" r:id="rId12"/>
    <p:sldId id="2147473069" r:id="rId13"/>
    <p:sldId id="2147473070" r:id="rId14"/>
    <p:sldId id="2147473071" r:id="rId15"/>
    <p:sldId id="2147473099" r:id="rId16"/>
    <p:sldId id="2147473072" r:id="rId17"/>
    <p:sldId id="2147473074" r:id="rId18"/>
    <p:sldId id="2147473100" r:id="rId19"/>
    <p:sldId id="2147473088" r:id="rId20"/>
    <p:sldId id="2147473078" r:id="rId21"/>
    <p:sldId id="2147473089" r:id="rId22"/>
    <p:sldId id="2147473079" r:id="rId23"/>
    <p:sldId id="2147473093" r:id="rId24"/>
    <p:sldId id="2147473082" r:id="rId25"/>
    <p:sldId id="2147473083" r:id="rId26"/>
    <p:sldId id="2147473085" r:id="rId27"/>
    <p:sldId id="2147473090" r:id="rId28"/>
    <p:sldId id="2147473086" r:id="rId29"/>
    <p:sldId id="2147473102" r:id="rId30"/>
    <p:sldId id="2147473096" r:id="rId31"/>
    <p:sldId id="2147473094" r:id="rId32"/>
    <p:sldId id="2147473103" r:id="rId33"/>
    <p:sldId id="2147473104" r:id="rId34"/>
    <p:sldId id="2147473105" r:id="rId35"/>
    <p:sldId id="2147473097" r:id="rId36"/>
    <p:sldId id="2147473106" r:id="rId3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1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F46BBC-AD3D-4D65-9C64-52143DC83DE8}" v="3226" dt="2025-10-02T18:34:14.858"/>
    <p1510:client id="{062084AE-234E-0839-3291-390ACA5B8B21}" v="922" dt="2025-10-02T18:32:44.513"/>
    <p1510:client id="{2CDCFF11-199E-9843-11BD-7DF8F2E83AB9}" v="398" dt="2025-10-02T17:52:28.654"/>
    <p1510:client id="{41327DDB-97D0-3848-B342-2B070B106C52}" v="145" dt="2025-10-02T19:10:25.442"/>
    <p1510:client id="{A531027F-14E7-883E-F054-C77482F8E0F4}" v="106" dt="2025-10-02T19:23:42.215"/>
    <p1510:client id="{E4FB698F-64CE-4C3E-980D-826FA0AACCC7}" v="2314" dt="2025-10-01T20:53:59.930"/>
    <p1510:client id="{E9C1C8A5-8A2F-4C13-83CC-7E072D9982DA}" v="338" dt="2025-10-02T19:51:10.6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6/11/relationships/changesInfo" Target="changesInfos/changesInfo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ISCA PRISCILA SANTOS DE SOUSA" userId="S::francisca.sousa@claro.com.br::fcca7ff2-e2d1-407e-9da7-e42498dec629" providerId="AD" clId="Web-{A531027F-14E7-883E-F054-C77482F8E0F4}"/>
    <pc:docChg chg="modSld">
      <pc:chgData name="FRANCISCA PRISCILA SANTOS DE SOUSA" userId="S::francisca.sousa@claro.com.br::fcca7ff2-e2d1-407e-9da7-e42498dec629" providerId="AD" clId="Web-{A531027F-14E7-883E-F054-C77482F8E0F4}" dt="2025-10-02T19:23:42.215" v="54" actId="20577"/>
      <pc:docMkLst>
        <pc:docMk/>
      </pc:docMkLst>
      <pc:sldChg chg="addSp delSp modSp">
        <pc:chgData name="FRANCISCA PRISCILA SANTOS DE SOUSA" userId="S::francisca.sousa@claro.com.br::fcca7ff2-e2d1-407e-9da7-e42498dec629" providerId="AD" clId="Web-{A531027F-14E7-883E-F054-C77482F8E0F4}" dt="2025-10-02T19:23:42.215" v="54" actId="20577"/>
        <pc:sldMkLst>
          <pc:docMk/>
          <pc:sldMk cId="3468728576" sldId="2147473097"/>
        </pc:sldMkLst>
        <pc:spChg chg="add del mod">
          <ac:chgData name="FRANCISCA PRISCILA SANTOS DE SOUSA" userId="S::francisca.sousa@claro.com.br::fcca7ff2-e2d1-407e-9da7-e42498dec629" providerId="AD" clId="Web-{A531027F-14E7-883E-F054-C77482F8E0F4}" dt="2025-10-02T19:23:42.215" v="54" actId="20577"/>
          <ac:spMkLst>
            <pc:docMk/>
            <pc:sldMk cId="3468728576" sldId="2147473097"/>
            <ac:spMk id="17" creationId="{E120488D-7AAC-5758-39ED-F7E934745E8E}"/>
          </ac:spMkLst>
        </pc:spChg>
      </pc:sldChg>
    </pc:docChg>
  </pc:docChgLst>
  <pc:docChgLst>
    <pc:chgData name="ANDREIA FERREIRA DE AGUIAR" userId="de8c5507-6e89-4a9e-93d7-e1d3c9758874" providerId="ADAL" clId="{E9C1C8A5-8A2F-4C13-83CC-7E072D9982DA}"/>
    <pc:docChg chg="undo custSel modSld">
      <pc:chgData name="ANDREIA FERREIRA DE AGUIAR" userId="de8c5507-6e89-4a9e-93d7-e1d3c9758874" providerId="ADAL" clId="{E9C1C8A5-8A2F-4C13-83CC-7E072D9982DA}" dt="2025-10-02T19:51:10.619" v="337" actId="20577"/>
      <pc:docMkLst>
        <pc:docMk/>
      </pc:docMkLst>
      <pc:sldChg chg="delSp mod">
        <pc:chgData name="ANDREIA FERREIRA DE AGUIAR" userId="de8c5507-6e89-4a9e-93d7-e1d3c9758874" providerId="ADAL" clId="{E9C1C8A5-8A2F-4C13-83CC-7E072D9982DA}" dt="2025-10-02T19:39:07.415" v="211" actId="478"/>
        <pc:sldMkLst>
          <pc:docMk/>
          <pc:sldMk cId="1745229666" sldId="2147473068"/>
        </pc:sldMkLst>
        <pc:spChg chg="del">
          <ac:chgData name="ANDREIA FERREIRA DE AGUIAR" userId="de8c5507-6e89-4a9e-93d7-e1d3c9758874" providerId="ADAL" clId="{E9C1C8A5-8A2F-4C13-83CC-7E072D9982DA}" dt="2025-10-02T19:39:07.415" v="211" actId="478"/>
          <ac:spMkLst>
            <pc:docMk/>
            <pc:sldMk cId="1745229666" sldId="2147473068"/>
            <ac:spMk id="47" creationId="{3ADA1182-B065-6925-F90E-C84686EA2B31}"/>
          </ac:spMkLst>
        </pc:spChg>
      </pc:sldChg>
      <pc:sldChg chg="modSp mod">
        <pc:chgData name="ANDREIA FERREIRA DE AGUIAR" userId="de8c5507-6e89-4a9e-93d7-e1d3c9758874" providerId="ADAL" clId="{E9C1C8A5-8A2F-4C13-83CC-7E072D9982DA}" dt="2025-10-02T19:49:49.298" v="325" actId="1076"/>
        <pc:sldMkLst>
          <pc:docMk/>
          <pc:sldMk cId="2755098429" sldId="2147473070"/>
        </pc:sldMkLst>
        <pc:spChg chg="mod">
          <ac:chgData name="ANDREIA FERREIRA DE AGUIAR" userId="de8c5507-6e89-4a9e-93d7-e1d3c9758874" providerId="ADAL" clId="{E9C1C8A5-8A2F-4C13-83CC-7E072D9982DA}" dt="2025-10-02T19:49:49.298" v="325" actId="1076"/>
          <ac:spMkLst>
            <pc:docMk/>
            <pc:sldMk cId="2755098429" sldId="2147473070"/>
            <ac:spMk id="47" creationId="{803CE536-82B2-B6AD-EC27-72B3509AE691}"/>
          </ac:spMkLst>
        </pc:spChg>
      </pc:sldChg>
      <pc:sldChg chg="modSp mod">
        <pc:chgData name="ANDREIA FERREIRA DE AGUIAR" userId="de8c5507-6e89-4a9e-93d7-e1d3c9758874" providerId="ADAL" clId="{E9C1C8A5-8A2F-4C13-83CC-7E072D9982DA}" dt="2025-10-02T19:49:24.733" v="324" actId="108"/>
        <pc:sldMkLst>
          <pc:docMk/>
          <pc:sldMk cId="4153830063" sldId="2147473074"/>
        </pc:sldMkLst>
        <pc:spChg chg="mod">
          <ac:chgData name="ANDREIA FERREIRA DE AGUIAR" userId="de8c5507-6e89-4a9e-93d7-e1d3c9758874" providerId="ADAL" clId="{E9C1C8A5-8A2F-4C13-83CC-7E072D9982DA}" dt="2025-10-02T19:49:24.733" v="324" actId="108"/>
          <ac:spMkLst>
            <pc:docMk/>
            <pc:sldMk cId="4153830063" sldId="2147473074"/>
            <ac:spMk id="26" creationId="{6AEEDBD2-4FB7-7130-84A2-8DB1F4BFF639}"/>
          </ac:spMkLst>
        </pc:spChg>
      </pc:sldChg>
      <pc:sldChg chg="modSp">
        <pc:chgData name="ANDREIA FERREIRA DE AGUIAR" userId="de8c5507-6e89-4a9e-93d7-e1d3c9758874" providerId="ADAL" clId="{E9C1C8A5-8A2F-4C13-83CC-7E072D9982DA}" dt="2025-10-02T19:03:57.809" v="0"/>
        <pc:sldMkLst>
          <pc:docMk/>
          <pc:sldMk cId="1012841619" sldId="2147473086"/>
        </pc:sldMkLst>
        <pc:spChg chg="mod">
          <ac:chgData name="ANDREIA FERREIRA DE AGUIAR" userId="de8c5507-6e89-4a9e-93d7-e1d3c9758874" providerId="ADAL" clId="{E9C1C8A5-8A2F-4C13-83CC-7E072D9982DA}" dt="2025-10-02T19:03:57.809" v="0"/>
          <ac:spMkLst>
            <pc:docMk/>
            <pc:sldMk cId="1012841619" sldId="2147473086"/>
            <ac:spMk id="6" creationId="{C1D771F1-110C-FD3C-80E1-A2168F3BBC0C}"/>
          </ac:spMkLst>
        </pc:spChg>
      </pc:sldChg>
      <pc:sldChg chg="modSp mod">
        <pc:chgData name="ANDREIA FERREIRA DE AGUIAR" userId="de8c5507-6e89-4a9e-93d7-e1d3c9758874" providerId="ADAL" clId="{E9C1C8A5-8A2F-4C13-83CC-7E072D9982DA}" dt="2025-10-02T19:35:05.727" v="123" actId="113"/>
        <pc:sldMkLst>
          <pc:docMk/>
          <pc:sldMk cId="3996787423" sldId="2147473088"/>
        </pc:sldMkLst>
        <pc:spChg chg="mod">
          <ac:chgData name="ANDREIA FERREIRA DE AGUIAR" userId="de8c5507-6e89-4a9e-93d7-e1d3c9758874" providerId="ADAL" clId="{E9C1C8A5-8A2F-4C13-83CC-7E072D9982DA}" dt="2025-10-02T19:35:05.727" v="123" actId="113"/>
          <ac:spMkLst>
            <pc:docMk/>
            <pc:sldMk cId="3996787423" sldId="2147473088"/>
            <ac:spMk id="8" creationId="{5D4BCD2F-B909-3366-483B-D1BB88BA1779}"/>
          </ac:spMkLst>
        </pc:spChg>
        <pc:spChg chg="mod">
          <ac:chgData name="ANDREIA FERREIRA DE AGUIAR" userId="de8c5507-6e89-4a9e-93d7-e1d3c9758874" providerId="ADAL" clId="{E9C1C8A5-8A2F-4C13-83CC-7E072D9982DA}" dt="2025-10-02T19:34:40.526" v="119" actId="6549"/>
          <ac:spMkLst>
            <pc:docMk/>
            <pc:sldMk cId="3996787423" sldId="2147473088"/>
            <ac:spMk id="26" creationId="{E86FED7C-B3F4-48CA-1AF8-8E1E8E10353C}"/>
          </ac:spMkLst>
        </pc:spChg>
        <pc:spChg chg="mod">
          <ac:chgData name="ANDREIA FERREIRA DE AGUIAR" userId="de8c5507-6e89-4a9e-93d7-e1d3c9758874" providerId="ADAL" clId="{E9C1C8A5-8A2F-4C13-83CC-7E072D9982DA}" dt="2025-10-02T19:34:53.480" v="120" actId="1076"/>
          <ac:spMkLst>
            <pc:docMk/>
            <pc:sldMk cId="3996787423" sldId="2147473088"/>
            <ac:spMk id="45" creationId="{E9E04C58-9713-FDE7-EEA2-2F3CD8E87AB3}"/>
          </ac:spMkLst>
        </pc:spChg>
        <pc:picChg chg="mod">
          <ac:chgData name="ANDREIA FERREIRA DE AGUIAR" userId="de8c5507-6e89-4a9e-93d7-e1d3c9758874" providerId="ADAL" clId="{E9C1C8A5-8A2F-4C13-83CC-7E072D9982DA}" dt="2025-10-02T19:34:53.480" v="120" actId="1076"/>
          <ac:picMkLst>
            <pc:docMk/>
            <pc:sldMk cId="3996787423" sldId="2147473088"/>
            <ac:picMk id="46" creationId="{A0C4E7F6-4152-1E8C-CE2D-6A09E43CFCBA}"/>
          </ac:picMkLst>
        </pc:picChg>
      </pc:sldChg>
      <pc:sldChg chg="modSp mod">
        <pc:chgData name="ANDREIA FERREIRA DE AGUIAR" userId="de8c5507-6e89-4a9e-93d7-e1d3c9758874" providerId="ADAL" clId="{E9C1C8A5-8A2F-4C13-83CC-7E072D9982DA}" dt="2025-10-02T19:38:42.261" v="210" actId="20577"/>
        <pc:sldMkLst>
          <pc:docMk/>
          <pc:sldMk cId="3634972230" sldId="2147473091"/>
        </pc:sldMkLst>
        <pc:spChg chg="mod">
          <ac:chgData name="ANDREIA FERREIRA DE AGUIAR" userId="de8c5507-6e89-4a9e-93d7-e1d3c9758874" providerId="ADAL" clId="{E9C1C8A5-8A2F-4C13-83CC-7E072D9982DA}" dt="2025-10-02T19:38:42.261" v="210" actId="20577"/>
          <ac:spMkLst>
            <pc:docMk/>
            <pc:sldMk cId="3634972230" sldId="2147473091"/>
            <ac:spMk id="2" creationId="{9393EAA7-02A4-426A-8824-976974217F8F}"/>
          </ac:spMkLst>
        </pc:spChg>
      </pc:sldChg>
      <pc:sldChg chg="addSp modSp mod">
        <pc:chgData name="ANDREIA FERREIRA DE AGUIAR" userId="de8c5507-6e89-4a9e-93d7-e1d3c9758874" providerId="ADAL" clId="{E9C1C8A5-8A2F-4C13-83CC-7E072D9982DA}" dt="2025-10-02T19:49:16.687" v="323" actId="108"/>
        <pc:sldMkLst>
          <pc:docMk/>
          <pc:sldMk cId="3005372321" sldId="2147473100"/>
        </pc:sldMkLst>
        <pc:spChg chg="add mod">
          <ac:chgData name="ANDREIA FERREIRA DE AGUIAR" userId="de8c5507-6e89-4a9e-93d7-e1d3c9758874" providerId="ADAL" clId="{E9C1C8A5-8A2F-4C13-83CC-7E072D9982DA}" dt="2025-10-02T19:49:00.681" v="320" actId="1037"/>
          <ac:spMkLst>
            <pc:docMk/>
            <pc:sldMk cId="3005372321" sldId="2147473100"/>
            <ac:spMk id="3" creationId="{D80F2588-5361-2E46-48D8-E76411D3E24E}"/>
          </ac:spMkLst>
        </pc:spChg>
        <pc:spChg chg="mod">
          <ac:chgData name="ANDREIA FERREIRA DE AGUIAR" userId="de8c5507-6e89-4a9e-93d7-e1d3c9758874" providerId="ADAL" clId="{E9C1C8A5-8A2F-4C13-83CC-7E072D9982DA}" dt="2025-10-02T19:49:16.687" v="323" actId="108"/>
          <ac:spMkLst>
            <pc:docMk/>
            <pc:sldMk cId="3005372321" sldId="2147473100"/>
            <ac:spMk id="26" creationId="{5AEC98A0-EACB-0C64-8F04-78C117EC55FC}"/>
          </ac:spMkLst>
        </pc:spChg>
      </pc:sldChg>
      <pc:sldChg chg="modSp">
        <pc:chgData name="ANDREIA FERREIRA DE AGUIAR" userId="de8c5507-6e89-4a9e-93d7-e1d3c9758874" providerId="ADAL" clId="{E9C1C8A5-8A2F-4C13-83CC-7E072D9982DA}" dt="2025-10-02T19:04:12.303" v="1"/>
        <pc:sldMkLst>
          <pc:docMk/>
          <pc:sldMk cId="3531716073" sldId="2147473103"/>
        </pc:sldMkLst>
        <pc:spChg chg="mod">
          <ac:chgData name="ANDREIA FERREIRA DE AGUIAR" userId="de8c5507-6e89-4a9e-93d7-e1d3c9758874" providerId="ADAL" clId="{E9C1C8A5-8A2F-4C13-83CC-7E072D9982DA}" dt="2025-10-02T19:04:12.303" v="1"/>
          <ac:spMkLst>
            <pc:docMk/>
            <pc:sldMk cId="3531716073" sldId="2147473103"/>
            <ac:spMk id="6" creationId="{768C7762-958F-13DF-3B3F-60532E5478A7}"/>
          </ac:spMkLst>
        </pc:spChg>
      </pc:sldChg>
      <pc:sldChg chg="addSp modSp mod">
        <pc:chgData name="ANDREIA FERREIRA DE AGUIAR" userId="de8c5507-6e89-4a9e-93d7-e1d3c9758874" providerId="ADAL" clId="{E9C1C8A5-8A2F-4C13-83CC-7E072D9982DA}" dt="2025-10-02T19:51:10.619" v="337" actId="20577"/>
        <pc:sldMkLst>
          <pc:docMk/>
          <pc:sldMk cId="2781676885" sldId="2147473104"/>
        </pc:sldMkLst>
        <pc:spChg chg="mod">
          <ac:chgData name="ANDREIA FERREIRA DE AGUIAR" userId="de8c5507-6e89-4a9e-93d7-e1d3c9758874" providerId="ADAL" clId="{E9C1C8A5-8A2F-4C13-83CC-7E072D9982DA}" dt="2025-10-02T19:46:20.798" v="214" actId="20577"/>
          <ac:spMkLst>
            <pc:docMk/>
            <pc:sldMk cId="2781676885" sldId="2147473104"/>
            <ac:spMk id="2" creationId="{CB309C47-3489-80C8-4AB5-05C072FBCC3D}"/>
          </ac:spMkLst>
        </pc:spChg>
        <pc:spChg chg="add mod">
          <ac:chgData name="ANDREIA FERREIRA DE AGUIAR" userId="de8c5507-6e89-4a9e-93d7-e1d3c9758874" providerId="ADAL" clId="{E9C1C8A5-8A2F-4C13-83CC-7E072D9982DA}" dt="2025-10-02T19:51:10.619" v="337" actId="20577"/>
          <ac:spMkLst>
            <pc:docMk/>
            <pc:sldMk cId="2781676885" sldId="2147473104"/>
            <ac:spMk id="4" creationId="{29A80971-D021-D8F7-01D4-67C47C8BF626}"/>
          </ac:spMkLst>
        </pc:spChg>
        <pc:spChg chg="mod">
          <ac:chgData name="ANDREIA FERREIRA DE AGUIAR" userId="de8c5507-6e89-4a9e-93d7-e1d3c9758874" providerId="ADAL" clId="{E9C1C8A5-8A2F-4C13-83CC-7E072D9982DA}" dt="2025-10-02T19:47:09.791" v="285" actId="207"/>
          <ac:spMkLst>
            <pc:docMk/>
            <pc:sldMk cId="2781676885" sldId="2147473104"/>
            <ac:spMk id="27" creationId="{2208FF2A-F751-9334-E8D2-F3316ADC93E0}"/>
          </ac:spMkLst>
        </pc:spChg>
        <pc:spChg chg="mod">
          <ac:chgData name="ANDREIA FERREIRA DE AGUIAR" userId="de8c5507-6e89-4a9e-93d7-e1d3c9758874" providerId="ADAL" clId="{E9C1C8A5-8A2F-4C13-83CC-7E072D9982DA}" dt="2025-10-02T19:47:48.864" v="291" actId="14100"/>
          <ac:spMkLst>
            <pc:docMk/>
            <pc:sldMk cId="2781676885" sldId="2147473104"/>
            <ac:spMk id="45" creationId="{C6E02056-F1A0-6751-A0B8-1CEEE132227E}"/>
          </ac:spMkLst>
        </pc:spChg>
        <pc:picChg chg="mod">
          <ac:chgData name="ANDREIA FERREIRA DE AGUIAR" userId="de8c5507-6e89-4a9e-93d7-e1d3c9758874" providerId="ADAL" clId="{E9C1C8A5-8A2F-4C13-83CC-7E072D9982DA}" dt="2025-10-02T19:47:30.799" v="287" actId="208"/>
          <ac:picMkLst>
            <pc:docMk/>
            <pc:sldMk cId="2781676885" sldId="2147473104"/>
            <ac:picMk id="25" creationId="{A6DD1905-FB85-57DA-FE68-7BCEA7D1639F}"/>
          </ac:picMkLst>
        </pc:picChg>
        <pc:picChg chg="mod">
          <ac:chgData name="ANDREIA FERREIRA DE AGUIAR" userId="de8c5507-6e89-4a9e-93d7-e1d3c9758874" providerId="ADAL" clId="{E9C1C8A5-8A2F-4C13-83CC-7E072D9982DA}" dt="2025-10-02T19:47:36.344" v="289" actId="208"/>
          <ac:picMkLst>
            <pc:docMk/>
            <pc:sldMk cId="2781676885" sldId="2147473104"/>
            <ac:picMk id="46" creationId="{E5546834-0224-EAB1-6E6C-47474BF33C1C}"/>
          </ac:picMkLst>
        </pc:picChg>
      </pc:sldChg>
      <pc:sldChg chg="modSp mod">
        <pc:chgData name="ANDREIA FERREIRA DE AGUIAR" userId="de8c5507-6e89-4a9e-93d7-e1d3c9758874" providerId="ADAL" clId="{E9C1C8A5-8A2F-4C13-83CC-7E072D9982DA}" dt="2025-10-02T19:36:25.831" v="129" actId="20577"/>
        <pc:sldMkLst>
          <pc:docMk/>
          <pc:sldMk cId="1811262002" sldId="2147473106"/>
        </pc:sldMkLst>
        <pc:spChg chg="mod">
          <ac:chgData name="ANDREIA FERREIRA DE AGUIAR" userId="de8c5507-6e89-4a9e-93d7-e1d3c9758874" providerId="ADAL" clId="{E9C1C8A5-8A2F-4C13-83CC-7E072D9982DA}" dt="2025-10-02T19:36:25.831" v="129" actId="20577"/>
          <ac:spMkLst>
            <pc:docMk/>
            <pc:sldMk cId="1811262002" sldId="2147473106"/>
            <ac:spMk id="17" creationId="{7633A38E-FFA4-FC41-13D2-A34F765794A6}"/>
          </ac:spMkLst>
        </pc:spChg>
      </pc:sldChg>
    </pc:docChg>
  </pc:docChgLst>
  <pc:docChgLst>
    <pc:chgData name="FRANCISCA PRISCILA SANTOS DE SOUSA" userId="S::francisca.sousa@claro.com.br::fcca7ff2-e2d1-407e-9da7-e42498dec629" providerId="AD" clId="Web-{41327DDB-97D0-3848-B342-2B070B106C52}"/>
    <pc:docChg chg="modSld">
      <pc:chgData name="FRANCISCA PRISCILA SANTOS DE SOUSA" userId="S::francisca.sousa@claro.com.br::fcca7ff2-e2d1-407e-9da7-e42498dec629" providerId="AD" clId="Web-{41327DDB-97D0-3848-B342-2B070B106C52}" dt="2025-10-02T19:10:25.426" v="84" actId="20577"/>
      <pc:docMkLst>
        <pc:docMk/>
      </pc:docMkLst>
      <pc:sldChg chg="modSp">
        <pc:chgData name="FRANCISCA PRISCILA SANTOS DE SOUSA" userId="S::francisca.sousa@claro.com.br::fcca7ff2-e2d1-407e-9da7-e42498dec629" providerId="AD" clId="Web-{41327DDB-97D0-3848-B342-2B070B106C52}" dt="2025-10-02T19:06:54.712" v="64" actId="20577"/>
        <pc:sldMkLst>
          <pc:docMk/>
          <pc:sldMk cId="190923657" sldId="2147473066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9:06:54.712" v="64" actId="20577"/>
          <ac:spMkLst>
            <pc:docMk/>
            <pc:sldMk cId="190923657" sldId="2147473066"/>
            <ac:spMk id="42" creationId="{C6B540F4-40AC-F2A3-1392-BC911E1FEA72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9:10:00.612" v="77" actId="20577"/>
        <pc:sldMkLst>
          <pc:docMk/>
          <pc:sldMk cId="1928634086" sldId="2147473071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9:10:00.612" v="77" actId="20577"/>
          <ac:spMkLst>
            <pc:docMk/>
            <pc:sldMk cId="1928634086" sldId="2147473071"/>
            <ac:spMk id="26" creationId="{05D93BE3-E7C6-EF0B-CB3B-36EBAB3AD54E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55:41.028" v="21" actId="20577"/>
        <pc:sldMkLst>
          <pc:docMk/>
          <pc:sldMk cId="1012841619" sldId="2147473086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55:41.028" v="21" actId="20577"/>
          <ac:spMkLst>
            <pc:docMk/>
            <pc:sldMk cId="1012841619" sldId="2147473086"/>
            <ac:spMk id="6" creationId="{C1D771F1-110C-FD3C-80E1-A2168F3BBC0C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59:17.970" v="38" actId="20577"/>
        <pc:sldMkLst>
          <pc:docMk/>
          <pc:sldMk cId="2428154859" sldId="2147473094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59:17.970" v="38" actId="20577"/>
          <ac:spMkLst>
            <pc:docMk/>
            <pc:sldMk cId="2428154859" sldId="2147473094"/>
            <ac:spMk id="26" creationId="{DC2C37FD-68CF-9FC2-74DC-D888B9BB5778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58:31.219" v="35" actId="20577"/>
        <pc:sldMkLst>
          <pc:docMk/>
          <pc:sldMk cId="1821463834" sldId="2147473096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58:31.219" v="35" actId="20577"/>
          <ac:spMkLst>
            <pc:docMk/>
            <pc:sldMk cId="1821463834" sldId="2147473096"/>
            <ac:spMk id="26" creationId="{35940D75-EEE3-636A-BBEB-76D0FA257BE4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37:38.468" v="3" actId="20577"/>
        <pc:sldMkLst>
          <pc:docMk/>
          <pc:sldMk cId="3468728576" sldId="2147473097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37:38.468" v="3" actId="20577"/>
          <ac:spMkLst>
            <pc:docMk/>
            <pc:sldMk cId="3468728576" sldId="2147473097"/>
            <ac:spMk id="19" creationId="{CBD4CBEF-1ACC-EC16-F169-6E5410FCA675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9:10:25.426" v="84" actId="20577"/>
        <pc:sldMkLst>
          <pc:docMk/>
          <pc:sldMk cId="4108947909" sldId="2147473099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9:10:25.426" v="84" actId="20577"/>
          <ac:spMkLst>
            <pc:docMk/>
            <pc:sldMk cId="4108947909" sldId="2147473099"/>
            <ac:spMk id="26" creationId="{D0A03BEC-D06F-1F8C-C5E2-264BAE2D45FB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57:23.905" v="23" actId="20577"/>
        <pc:sldMkLst>
          <pc:docMk/>
          <pc:sldMk cId="921229306" sldId="2147473102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57:23.905" v="23" actId="20577"/>
          <ac:spMkLst>
            <pc:docMk/>
            <pc:sldMk cId="921229306" sldId="2147473102"/>
            <ac:spMk id="2" creationId="{A98902B4-CE32-F338-16E1-EA17968A446F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9:00:52.003" v="46" actId="20577"/>
        <pc:sldMkLst>
          <pc:docMk/>
          <pc:sldMk cId="3531716073" sldId="2147473103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9:00:52.003" v="46" actId="20577"/>
          <ac:spMkLst>
            <pc:docMk/>
            <pc:sldMk cId="3531716073" sldId="2147473103"/>
            <ac:spMk id="2" creationId="{8A303D3E-101C-F7A8-5013-ECCBE310BAC3}"/>
          </ac:spMkLst>
        </pc:spChg>
        <pc:spChg chg="mod">
          <ac:chgData name="FRANCISCA PRISCILA SANTOS DE SOUSA" userId="S::francisca.sousa@claro.com.br::fcca7ff2-e2d1-407e-9da7-e42498dec629" providerId="AD" clId="Web-{41327DDB-97D0-3848-B342-2B070B106C52}" dt="2025-10-02T19:00:07.736" v="43" actId="20577"/>
          <ac:spMkLst>
            <pc:docMk/>
            <pc:sldMk cId="3531716073" sldId="2147473103"/>
            <ac:spMk id="26" creationId="{F889FD4D-D152-B2AA-D830-4EF5D3A01D4E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9:02:13.316" v="49" actId="20577"/>
        <pc:sldMkLst>
          <pc:docMk/>
          <pc:sldMk cId="3047084005" sldId="2147473105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9:02:13.316" v="49" actId="20577"/>
          <ac:spMkLst>
            <pc:docMk/>
            <pc:sldMk cId="3047084005" sldId="2147473105"/>
            <ac:spMk id="2" creationId="{F54E2613-BD62-1565-3A58-E684711B1ED5}"/>
          </ac:spMkLst>
        </pc:spChg>
      </pc:sldChg>
      <pc:sldChg chg="modSp">
        <pc:chgData name="FRANCISCA PRISCILA SANTOS DE SOUSA" userId="S::francisca.sousa@claro.com.br::fcca7ff2-e2d1-407e-9da7-e42498dec629" providerId="AD" clId="Web-{41327DDB-97D0-3848-B342-2B070B106C52}" dt="2025-10-02T18:44:39.757" v="6" actId="20577"/>
        <pc:sldMkLst>
          <pc:docMk/>
          <pc:sldMk cId="1811262002" sldId="2147473106"/>
        </pc:sldMkLst>
        <pc:spChg chg="mod">
          <ac:chgData name="FRANCISCA PRISCILA SANTOS DE SOUSA" userId="S::francisca.sousa@claro.com.br::fcca7ff2-e2d1-407e-9da7-e42498dec629" providerId="AD" clId="Web-{41327DDB-97D0-3848-B342-2B070B106C52}" dt="2025-10-02T18:44:39.757" v="6" actId="20577"/>
          <ac:spMkLst>
            <pc:docMk/>
            <pc:sldMk cId="1811262002" sldId="2147473106"/>
            <ac:spMk id="19" creationId="{340A86CD-C189-9594-C8B7-9531EF5388C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20FC94-FBBD-4F55-9574-D76A0B84C30B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1FEBC-47D9-4F0A-9524-7E5535C81FC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9991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67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272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160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1FEBC-47D9-4F0A-9524-7E5535C81FC3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2284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A5FB0B-06FE-DC91-54C7-433A01AC0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0F1461B-D383-A948-8E00-AA986604F5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0C135B0-2824-19D8-5783-31B5E599D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1A255A3-42CA-4064-2EB6-62D58B42F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069E05-4C6F-98F4-BDAA-7E75FA3E7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65307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AB6357-3C13-FC7E-E261-3CCAC06AB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67FD174-106D-3293-3F6C-57EC6DCCF5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0BAD419-6698-F82D-F3CE-68ECFE3A5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746A4C-55AE-3733-ADEC-FED2A78BC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591FAE9-1465-CE7C-F2AC-B5F3CB87F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3226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B950E44-F6AA-A443-9E1B-75A0F423D0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CF441BC-9C7F-378B-23ED-2F59D584B2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0BB74-80EC-8463-5A32-E01C00862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E37FD6B-9A0E-7F66-68E6-FF2034D9C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1103AE2-82A9-CCB9-AC8D-1D0CEAD88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5075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439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49" imgH="350" progId="TCLayout.ActiveDocument.1">
                  <p:embed/>
                </p:oleObj>
              </mc:Choice>
              <mc:Fallback>
                <p:oleObj name="Slide do think-cell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3639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8D742-E5B7-EDF6-E90D-59B2660EF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A6B238C-7B0F-4B20-7CF0-2C0DDB35F3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F1D7960-8E03-9A6E-27FE-C5AF536D0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D6A01F-2F3B-2287-B871-7299A3F3E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E18F12F-474A-61EE-4109-1BE8D6165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39275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606FA9-E346-7932-6289-71278563C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0809025-AA4F-59CE-5DDE-5EA5BD6D82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DC3DAD2-3342-6ACA-C7A9-11F22CB6F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570A5C7-7809-AF4F-1087-8A9B3E5C6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2EE9A66-E042-8E86-880A-B70A23189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9250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F23A14-BA81-2789-611A-77B942A63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4525EC5-0FCA-B0DE-1869-A48FA1018F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61F9C38-72B1-A788-7B33-5DD5FC82E6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FD7705D-C8D2-B06C-6DA3-A1919CD91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CC2DC10-4C5E-EDF6-1129-8F3737F17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840D494-93F9-933A-CB37-231DEE645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2175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E1C218-7C12-BB07-33C7-126572A0E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B5F2C25-B041-7953-19DF-7A451F8FC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C8394FE-DC32-675B-CB62-B0312CD15E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C4752DF-051A-6A94-5CE0-89FA70AA51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96BACF4-A5FA-F259-D10D-2BB73C9A80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B18FF972-1BD8-4152-01C4-5BB9D434C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2DEAF7F-42E4-EDF5-FD90-373075F40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8274717-FF82-A853-1A78-DB8044FDF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5957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AF1C41-7BD1-65D9-6F05-ECC8F1B82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7B55D1B-5EE7-F27E-8D7B-29F2002C0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724CE5-2E65-B546-E5F2-456A1098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CBD2832-E9DA-2925-87CB-948B7D891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2704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26E0CA54-4CF7-6C3A-DD50-4873F4F23C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1E998E2-87BE-8C12-5654-74956BE54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703AB46-8DF6-F7CB-CD4E-6F08EDFD0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6314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293A5B-EA98-E04C-C916-7B70EFC2B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74BB227-7D3F-3A5A-6C62-E3589A2B5A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CA97762-4DAC-68F9-E860-5F684A90E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A6FB34-A1EF-679D-DE6E-994D0142C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C2F2DD6-B1BA-8013-8C86-774EBFA9A3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879EFA3-2ADC-C5FA-C5D6-D3A89D4D9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5003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FC9016-AA11-2AEE-4DE2-7E1A270C2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511A774E-D30C-117E-FDB4-26CC81919E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9BEE202-2835-7DFD-FFEF-252486C5D8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0ADDE2-2A84-58B2-AE1B-C27054A02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25DE6B7-C59C-B6B1-C97D-534739302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8C1D0A0-B6F0-0C9D-1A02-A16400FBB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608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C0D4E4-6E06-F4A9-D7BC-4710E5E813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6805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395" imgH="396" progId="TCLayout.ActiveDocument.1">
                  <p:embed/>
                </p:oleObj>
              </mc:Choice>
              <mc:Fallback>
                <p:oleObj name="Slide do think-cell" r:id="rId15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C0D4E4-6E06-F4A9-D7BC-4710E5E813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15E9CD9D-6AAF-4DE5-B5DD-0A5F2534C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F64B7E2-C686-FFBA-0340-CF0D23E75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97E7F2B-9C8E-F80E-1031-6E388D29A5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4E31F83-D93A-4D4E-A8CD-31D1F2074572}" type="datetimeFigureOut">
              <a:rPr lang="pt-BR" smtClean="0"/>
              <a:t>02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1512289-D010-18B1-C715-7A2B59B164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F299879-F037-4E68-DB8E-180EF04BD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375A664-42F1-4A94-AB7D-1352F38C381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1624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33.xml"/><Relationship Id="rId9" Type="http://schemas.openxmlformats.org/officeDocument/2006/relationships/image" Target="../media/image11.svg"/><Relationship Id="rId14" Type="http://schemas.openxmlformats.org/officeDocument/2006/relationships/slide" Target="slide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37.xml"/><Relationship Id="rId9" Type="http://schemas.openxmlformats.org/officeDocument/2006/relationships/image" Target="../media/image11.svg"/><Relationship Id="rId14" Type="http://schemas.openxmlformats.org/officeDocument/2006/relationships/slide" Target="slide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41.xml"/><Relationship Id="rId9" Type="http://schemas.openxmlformats.org/officeDocument/2006/relationships/image" Target="../media/image11.svg"/><Relationship Id="rId14" Type="http://schemas.openxmlformats.org/officeDocument/2006/relationships/slide" Target="slide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45.xml"/><Relationship Id="rId9" Type="http://schemas.openxmlformats.org/officeDocument/2006/relationships/image" Target="../media/image11.svg"/><Relationship Id="rId14" Type="http://schemas.openxmlformats.org/officeDocument/2006/relationships/slide" Target="slide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49.xml"/><Relationship Id="rId9" Type="http://schemas.openxmlformats.org/officeDocument/2006/relationships/image" Target="../media/image11.svg"/><Relationship Id="rId14" Type="http://schemas.openxmlformats.org/officeDocument/2006/relationships/slide" Target="slide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53.xml"/><Relationship Id="rId9" Type="http://schemas.openxmlformats.org/officeDocument/2006/relationships/image" Target="../media/image11.svg"/><Relationship Id="rId14" Type="http://schemas.openxmlformats.org/officeDocument/2006/relationships/slide" Target="slide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55.xml"/><Relationship Id="rId16" Type="http://schemas.openxmlformats.org/officeDocument/2006/relationships/slide" Target="slide3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hyperlink" Target="http://www.naomeperturbe.com.br" TargetMode="External"/><Relationship Id="rId10" Type="http://schemas.openxmlformats.org/officeDocument/2006/relationships/image" Target="../media/image12.png"/><Relationship Id="rId4" Type="http://schemas.openxmlformats.org/officeDocument/2006/relationships/tags" Target="../tags/tag57.xml"/><Relationship Id="rId9" Type="http://schemas.openxmlformats.org/officeDocument/2006/relationships/image" Target="../media/image11.svg"/><Relationship Id="rId14" Type="http://schemas.openxmlformats.org/officeDocument/2006/relationships/slide" Target="slide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61.xml"/><Relationship Id="rId9" Type="http://schemas.openxmlformats.org/officeDocument/2006/relationships/image" Target="../media/image11.svg"/><Relationship Id="rId14" Type="http://schemas.openxmlformats.org/officeDocument/2006/relationships/slide" Target="slide1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slide" Target="slide3.xml"/><Relationship Id="rId3" Type="http://schemas.openxmlformats.org/officeDocument/2006/relationships/tags" Target="../tags/tag64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4.png"/><Relationship Id="rId3" Type="http://schemas.openxmlformats.org/officeDocument/2006/relationships/tags" Target="../tags/tag67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3.svg"/><Relationship Id="rId17" Type="http://schemas.openxmlformats.org/officeDocument/2006/relationships/slide" Target="slide7.xml"/><Relationship Id="rId2" Type="http://schemas.openxmlformats.org/officeDocument/2006/relationships/tags" Target="../tags/tag66.xml"/><Relationship Id="rId16" Type="http://schemas.openxmlformats.org/officeDocument/2006/relationships/slide" Target="slide20.xml"/><Relationship Id="rId1" Type="http://schemas.openxmlformats.org/officeDocument/2006/relationships/tags" Target="../tags/tag65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2.png"/><Relationship Id="rId5" Type="http://schemas.openxmlformats.org/officeDocument/2006/relationships/tags" Target="../tags/tag69.xml"/><Relationship Id="rId15" Type="http://schemas.openxmlformats.org/officeDocument/2006/relationships/slide" Target="slide36.xml"/><Relationship Id="rId10" Type="http://schemas.openxmlformats.org/officeDocument/2006/relationships/image" Target="../media/image11.svg"/><Relationship Id="rId4" Type="http://schemas.openxmlformats.org/officeDocument/2006/relationships/tags" Target="../tags/tag68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73.xml"/><Relationship Id="rId9" Type="http://schemas.openxmlformats.org/officeDocument/2006/relationships/image" Target="../media/image11.svg"/><Relationship Id="rId14" Type="http://schemas.openxmlformats.org/officeDocument/2006/relationships/slide" Target="slide2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75.xml"/><Relationship Id="rId16" Type="http://schemas.openxmlformats.org/officeDocument/2006/relationships/slide" Target="slide36.xml"/><Relationship Id="rId1" Type="http://schemas.openxmlformats.org/officeDocument/2006/relationships/tags" Target="../tags/tag7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hyperlink" Target="http://www.naomeperturbe.com.br" TargetMode="External"/><Relationship Id="rId10" Type="http://schemas.openxmlformats.org/officeDocument/2006/relationships/image" Target="../media/image12.png"/><Relationship Id="rId4" Type="http://schemas.openxmlformats.org/officeDocument/2006/relationships/tags" Target="../tags/tag77.xml"/><Relationship Id="rId9" Type="http://schemas.openxmlformats.org/officeDocument/2006/relationships/image" Target="../media/image11.svg"/><Relationship Id="rId14" Type="http://schemas.openxmlformats.org/officeDocument/2006/relationships/slide" Target="slide2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81.xml"/><Relationship Id="rId9" Type="http://schemas.openxmlformats.org/officeDocument/2006/relationships/image" Target="../media/image11.svg"/><Relationship Id="rId14" Type="http://schemas.openxmlformats.org/officeDocument/2006/relationships/slide" Target="slide2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85.xml"/><Relationship Id="rId9" Type="http://schemas.openxmlformats.org/officeDocument/2006/relationships/image" Target="../media/image11.svg"/><Relationship Id="rId14" Type="http://schemas.openxmlformats.org/officeDocument/2006/relationships/slide" Target="slide2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89.xml"/><Relationship Id="rId9" Type="http://schemas.openxmlformats.org/officeDocument/2006/relationships/image" Target="../media/image11.svg"/><Relationship Id="rId14" Type="http://schemas.openxmlformats.org/officeDocument/2006/relationships/slide" Target="slide2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93.xml"/><Relationship Id="rId9" Type="http://schemas.openxmlformats.org/officeDocument/2006/relationships/image" Target="../media/image11.svg"/><Relationship Id="rId14" Type="http://schemas.openxmlformats.org/officeDocument/2006/relationships/slide" Target="slide2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97.xml"/><Relationship Id="rId9" Type="http://schemas.openxmlformats.org/officeDocument/2006/relationships/image" Target="../media/image11.svg"/><Relationship Id="rId14" Type="http://schemas.openxmlformats.org/officeDocument/2006/relationships/slide" Target="slide2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01.xml"/><Relationship Id="rId9" Type="http://schemas.openxmlformats.org/officeDocument/2006/relationships/image" Target="../media/image11.svg"/><Relationship Id="rId14" Type="http://schemas.openxmlformats.org/officeDocument/2006/relationships/slide" Target="slide2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05.xml"/><Relationship Id="rId9" Type="http://schemas.openxmlformats.org/officeDocument/2006/relationships/image" Target="../media/image11.svg"/><Relationship Id="rId14" Type="http://schemas.openxmlformats.org/officeDocument/2006/relationships/slide" Target="slide2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09.xml"/><Relationship Id="rId9" Type="http://schemas.openxmlformats.org/officeDocument/2006/relationships/image" Target="../media/image11.svg"/><Relationship Id="rId14" Type="http://schemas.openxmlformats.org/officeDocument/2006/relationships/slide" Target="slide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slide" Target="slide1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slide" Target="slide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13.xml"/><Relationship Id="rId9" Type="http://schemas.openxmlformats.org/officeDocument/2006/relationships/image" Target="../media/image11.svg"/><Relationship Id="rId14" Type="http://schemas.openxmlformats.org/officeDocument/2006/relationships/slide" Target="slide3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17.xml"/><Relationship Id="rId9" Type="http://schemas.openxmlformats.org/officeDocument/2006/relationships/image" Target="../media/image11.svg"/><Relationship Id="rId14" Type="http://schemas.openxmlformats.org/officeDocument/2006/relationships/slide" Target="slide3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21.xml"/><Relationship Id="rId9" Type="http://schemas.openxmlformats.org/officeDocument/2006/relationships/image" Target="../media/image11.svg"/><Relationship Id="rId14" Type="http://schemas.openxmlformats.org/officeDocument/2006/relationships/slide" Target="slide3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svg"/><Relationship Id="rId3" Type="http://schemas.openxmlformats.org/officeDocument/2006/relationships/tags" Target="../tags/tag124.xml"/><Relationship Id="rId7" Type="http://schemas.openxmlformats.org/officeDocument/2006/relationships/image" Target="../media/image1.emf"/><Relationship Id="rId12" Type="http://schemas.openxmlformats.org/officeDocument/2006/relationships/image" Target="../media/image18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6.xml"/><Relationship Id="rId10" Type="http://schemas.openxmlformats.org/officeDocument/2006/relationships/image" Target="../media/image12.png"/><Relationship Id="rId4" Type="http://schemas.openxmlformats.org/officeDocument/2006/relationships/tags" Target="../tags/tag125.xml"/><Relationship Id="rId9" Type="http://schemas.openxmlformats.org/officeDocument/2006/relationships/image" Target="../media/image17.svg"/><Relationship Id="rId14" Type="http://schemas.openxmlformats.org/officeDocument/2006/relationships/slide" Target="slide3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slide" Target="slide3.xml"/><Relationship Id="rId3" Type="http://schemas.openxmlformats.org/officeDocument/2006/relationships/tags" Target="../tags/tag128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image" Target="../media/image12.png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image" Target="../media/image1.emf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33.xml"/><Relationship Id="rId15" Type="http://schemas.openxmlformats.org/officeDocument/2006/relationships/slide" Target="slide3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image" Target="../media/image13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oleObject" Target="../embeddings/oleObject6.bin"/><Relationship Id="rId18" Type="http://schemas.openxmlformats.org/officeDocument/2006/relationships/slide" Target="slide3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7.xml"/><Relationship Id="rId2" Type="http://schemas.openxmlformats.org/officeDocument/2006/relationships/tags" Target="../tags/tag139.xml"/><Relationship Id="rId16" Type="http://schemas.openxmlformats.org/officeDocument/2006/relationships/image" Target="../media/image13.svg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image" Target="../media/image12.png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7.svg"/><Relationship Id="rId2" Type="http://schemas.openxmlformats.org/officeDocument/2006/relationships/tags" Target="../tags/tag7.xml"/><Relationship Id="rId16" Type="http://schemas.openxmlformats.org/officeDocument/2006/relationships/slide" Target="slide5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5.svg"/><Relationship Id="rId4" Type="http://schemas.openxmlformats.org/officeDocument/2006/relationships/tags" Target="../tags/tag9.xml"/><Relationship Id="rId9" Type="http://schemas.openxmlformats.org/officeDocument/2006/relationships/image" Target="../media/image4.png"/><Relationship Id="rId14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13.xml"/><Relationship Id="rId9" Type="http://schemas.openxmlformats.org/officeDocument/2006/relationships/image" Target="../media/image11.svg"/><Relationship Id="rId14" Type="http://schemas.openxmlformats.org/officeDocument/2006/relationships/slide" Target="slide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4.png"/><Relationship Id="rId3" Type="http://schemas.openxmlformats.org/officeDocument/2006/relationships/tags" Target="../tags/tag16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3.svg"/><Relationship Id="rId17" Type="http://schemas.openxmlformats.org/officeDocument/2006/relationships/slide" Target="slide35.xml"/><Relationship Id="rId2" Type="http://schemas.openxmlformats.org/officeDocument/2006/relationships/tags" Target="../tags/tag15.xml"/><Relationship Id="rId16" Type="http://schemas.openxmlformats.org/officeDocument/2006/relationships/slide" Target="slide7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2.png"/><Relationship Id="rId5" Type="http://schemas.openxmlformats.org/officeDocument/2006/relationships/tags" Target="../tags/tag18.xml"/><Relationship Id="rId15" Type="http://schemas.openxmlformats.org/officeDocument/2006/relationships/slide" Target="slide19.xml"/><Relationship Id="rId10" Type="http://schemas.openxmlformats.org/officeDocument/2006/relationships/image" Target="../media/image11.svg"/><Relationship Id="rId4" Type="http://schemas.openxmlformats.org/officeDocument/2006/relationships/tags" Target="../tags/tag17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tags" Target="../tags/tag2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Relationship Id="rId9" Type="http://schemas.openxmlformats.org/officeDocument/2006/relationships/slide" Target="slide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25.xml"/><Relationship Id="rId9" Type="http://schemas.openxmlformats.org/officeDocument/2006/relationships/image" Target="../media/image11.svg"/><Relationship Id="rId14" Type="http://schemas.openxmlformats.org/officeDocument/2006/relationships/slide" Target="slide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1.xml"/><Relationship Id="rId15" Type="http://schemas.openxmlformats.org/officeDocument/2006/relationships/slide" Target="slide35.xml"/><Relationship Id="rId10" Type="http://schemas.openxmlformats.org/officeDocument/2006/relationships/image" Target="../media/image12.png"/><Relationship Id="rId4" Type="http://schemas.openxmlformats.org/officeDocument/2006/relationships/tags" Target="../tags/tag29.xml"/><Relationship Id="rId9" Type="http://schemas.openxmlformats.org/officeDocument/2006/relationships/image" Target="../media/image11.svg"/><Relationship Id="rId14" Type="http://schemas.openxmlformats.org/officeDocument/2006/relationships/slide" Target="slide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341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9" imgH="350" progId="TCLayout.ActiveDocument.1">
                  <p:embed/>
                </p:oleObj>
              </mc:Choice>
              <mc:Fallback>
                <p:oleObj name="Slide do think-cell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Imagem 37">
            <a:extLst>
              <a:ext uri="{FF2B5EF4-FFF2-40B4-BE49-F238E27FC236}">
                <a16:creationId xmlns:a16="http://schemas.microsoft.com/office/drawing/2014/main" id="{15009D21-1BAA-66AD-4206-621A0770F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5875"/>
            <a:ext cx="9906000" cy="5572125"/>
          </a:xfrm>
          <a:prstGeom prst="rect">
            <a:avLst/>
          </a:prstGeom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D0949E8A-1C03-18A9-1926-835AC9754444}"/>
              </a:ext>
            </a:extLst>
          </p:cNvPr>
          <p:cNvSpPr>
            <a:spLocks/>
          </p:cNvSpPr>
          <p:nvPr/>
        </p:nvSpPr>
        <p:spPr bwMode="gray">
          <a:xfrm>
            <a:off x="5193283" y="2538232"/>
            <a:ext cx="6311280" cy="6771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sz="44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/>
              </a:rPr>
              <a:t>Roteiro de Venda Multi</a:t>
            </a:r>
            <a:endParaRPr lang="en-US" sz="44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</a:endParaRP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EF2CFACA-B183-6B5B-8346-FAE989072B97}"/>
              </a:ext>
            </a:extLst>
          </p:cNvPr>
          <p:cNvSpPr>
            <a:spLocks/>
          </p:cNvSpPr>
          <p:nvPr/>
        </p:nvSpPr>
        <p:spPr bwMode="gray">
          <a:xfrm>
            <a:off x="5366167" y="3323330"/>
            <a:ext cx="5667594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sz="3200" b="1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/>
              </a:rPr>
              <a:t>Migração </a:t>
            </a:r>
            <a:r>
              <a:rPr lang="en-US" sz="3200" b="1" noProof="1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/>
              </a:rPr>
              <a:t>Móvel </a:t>
            </a:r>
            <a:r>
              <a:rPr lang="en-US" sz="3200" b="1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/>
              </a:rPr>
              <a:t>+ Residencial</a:t>
            </a:r>
            <a:endParaRPr lang="en-US" sz="3200" b="1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DF9F7-EF4F-54CF-770B-BDFC6AA4EF98}"/>
              </a:ext>
            </a:extLst>
          </p:cNvPr>
          <p:cNvSpPr txBox="1"/>
          <p:nvPr/>
        </p:nvSpPr>
        <p:spPr>
          <a:xfrm>
            <a:off x="10292080" y="6360160"/>
            <a:ext cx="1899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err="1">
                <a:solidFill>
                  <a:schemeClr val="bg1">
                    <a:lumMod val="50000"/>
                  </a:schemeClr>
                </a:solidFill>
              </a:rPr>
              <a:t>Outubro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/25</a:t>
            </a:r>
          </a:p>
        </p:txBody>
      </p:sp>
    </p:spTree>
    <p:extLst>
      <p:ext uri="{BB962C8B-B14F-4D97-AF65-F5344CB8AC3E}">
        <p14:creationId xmlns:p14="http://schemas.microsoft.com/office/powerpoint/2010/main" val="2250857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DB028-7359-FEB6-A08B-5CBE382D5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D137DA-B7F8-6BD7-D80B-0BBA4D86C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D137DA-B7F8-6BD7-D80B-0BBA4D86C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9F7D74A1-49E4-09B9-D33E-6304DF113D6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o</a:t>
            </a:r>
            <a:endParaRPr lang="en-US" sz="3600" b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FDA47CC6-089D-1589-3E40-AB06A76459E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411" y="827936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0367E28D-DA93-1351-338F-55A7E75B7820}"/>
              </a:ext>
            </a:extLst>
          </p:cNvPr>
          <p:cNvSpPr txBox="1">
            <a:spLocks/>
          </p:cNvSpPr>
          <p:nvPr/>
        </p:nvSpPr>
        <p:spPr>
          <a:xfrm>
            <a:off x="67760" y="1719874"/>
            <a:ext cx="2916131" cy="167738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rgbClr val="000000"/>
                </a:solidFill>
              </a:rPr>
              <a:t>Informação do Plano</a:t>
            </a:r>
            <a:endParaRPr lang="en-US" sz="1400" b="1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Valor do Plano,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Franquia,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Código 021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0F2A8B12-1D9F-FC7A-0E48-2F3352AF6EF6}"/>
              </a:ext>
            </a:extLst>
          </p:cNvPr>
          <p:cNvSpPr txBox="1">
            <a:spLocks/>
          </p:cNvSpPr>
          <p:nvPr/>
        </p:nvSpPr>
        <p:spPr>
          <a:xfrm>
            <a:off x="778713" y="112873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B7336A03-D404-36E9-F8C7-3C7DF7FC0373}"/>
              </a:ext>
            </a:extLst>
          </p:cNvPr>
          <p:cNvGrpSpPr>
            <a:grpSpLocks/>
          </p:cNvGrpSpPr>
          <p:nvPr/>
        </p:nvGrpSpPr>
        <p:grpSpPr>
          <a:xfrm>
            <a:off x="2423230" y="1165087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A9B221F0-1D15-3F04-0F56-DC73F87C8E8F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E375B896-102A-4545-3E0A-4BA94C582F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6E633D7F-2789-D5CD-1C72-198257E86D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6F09709F-AB3F-1C79-32D0-C5D20C42118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18127" y="320222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6FFC008F-A247-A3E8-7009-FD202D920C05}"/>
              </a:ext>
            </a:extLst>
          </p:cNvPr>
          <p:cNvSpPr txBox="1">
            <a:spLocks/>
          </p:cNvSpPr>
          <p:nvPr/>
        </p:nvSpPr>
        <p:spPr>
          <a:xfrm>
            <a:off x="2900413" y="4244046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6DA67E9A-2781-3DB9-5A64-D293B30A4F12}"/>
              </a:ext>
            </a:extLst>
          </p:cNvPr>
          <p:cNvSpPr txBox="1">
            <a:spLocks/>
          </p:cNvSpPr>
          <p:nvPr/>
        </p:nvSpPr>
        <p:spPr>
          <a:xfrm>
            <a:off x="707530" y="4136227"/>
            <a:ext cx="1303130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FADB6341-B1A6-9D57-A5DC-B413C03B5F1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3871017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A4BA916F-0349-D76B-3B2C-937E07B9021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39B7CFA-2DF5-CBB0-8C22-5D4F3E0FC855}"/>
              </a:ext>
            </a:extLst>
          </p:cNvPr>
          <p:cNvSpPr txBox="1"/>
          <p:nvPr/>
        </p:nvSpPr>
        <p:spPr>
          <a:xfrm>
            <a:off x="4664110" y="1759679"/>
            <a:ext cx="6940061" cy="334784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noProof="1">
                <a:solidFill>
                  <a:srgbClr val="000000"/>
                </a:solidFill>
                <a:latin typeface="Arial"/>
                <a:cs typeface="Arial"/>
              </a:rPr>
              <a:t>O </a:t>
            </a:r>
            <a:r>
              <a:rPr lang="en-US" sz="24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valor</a:t>
            </a:r>
            <a:r>
              <a:rPr lang="en-US" sz="2400" noProof="1">
                <a:solidFill>
                  <a:srgbClr val="000000"/>
                </a:solidFill>
                <a:latin typeface="Arial"/>
                <a:cs typeface="Arial"/>
              </a:rPr>
              <a:t> do plano controle  é de R$ XX com XX GB, sendo XX de franquia, XX de bônus exclusivo para uso XXX </a:t>
            </a:r>
            <a:r>
              <a:rPr lang="en-US" i="1" noProof="1">
                <a:solidFill>
                  <a:srgbClr val="000000"/>
                </a:solidFill>
                <a:latin typeface="Arial"/>
                <a:cs typeface="Arial"/>
              </a:rPr>
              <a:t>(informe de acordo com o promomemo vigente)</a:t>
            </a:r>
            <a:r>
              <a:rPr lang="en-US" sz="2400" noProof="1">
                <a:solidFill>
                  <a:srgbClr val="000000"/>
                </a:solidFill>
                <a:latin typeface="Arial"/>
                <a:cs typeface="Arial"/>
              </a:rPr>
              <a:t>, com </a:t>
            </a:r>
            <a:r>
              <a:rPr lang="en-US" sz="24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ligações ilimitadas </a:t>
            </a:r>
            <a:r>
              <a:rPr lang="en-US" sz="2400" noProof="1">
                <a:solidFill>
                  <a:srgbClr val="000000"/>
                </a:solidFill>
                <a:latin typeface="Arial"/>
                <a:cs typeface="Arial"/>
              </a:rPr>
              <a:t>para qualquer operadora do Brasil utilizando </a:t>
            </a:r>
            <a:r>
              <a:rPr lang="en-US" sz="24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o código 021</a:t>
            </a:r>
            <a:r>
              <a:rPr lang="en-US" sz="2400" noProof="1">
                <a:solidFill>
                  <a:srgbClr val="000000"/>
                </a:solidFill>
                <a:latin typeface="Arial"/>
                <a:cs typeface="Arial"/>
              </a:rPr>
              <a:t>, e whatsApp ilimitado. 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2867BCD0-DBDD-B0E0-17B5-352CAE0009DD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FA280C96-FA83-0705-FFB1-12425782C7D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745229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6FA20-B0D8-93AD-A610-6DE5B840C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6F1595-A97F-2058-E8EE-1795A17E90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6F1595-A97F-2058-E8EE-1795A17E9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C327397-1276-9E56-CFF0-B2602825C1A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o e Bônus</a:t>
            </a:r>
            <a:endParaRPr lang="en-US" sz="3600" b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8463D589-7094-3206-3614-71B59D8E84A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411" y="827936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72BF4D51-AD21-4A1B-50A8-C4267EABE404}"/>
              </a:ext>
            </a:extLst>
          </p:cNvPr>
          <p:cNvSpPr txBox="1">
            <a:spLocks/>
          </p:cNvSpPr>
          <p:nvPr/>
        </p:nvSpPr>
        <p:spPr>
          <a:xfrm>
            <a:off x="67760" y="1719874"/>
            <a:ext cx="2916131" cy="226215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Plan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Bônus (duração).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App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Serviços Digitai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E23161F3-0154-4435-F7DF-DEC5F1295714}"/>
              </a:ext>
            </a:extLst>
          </p:cNvPr>
          <p:cNvSpPr txBox="1">
            <a:spLocks/>
          </p:cNvSpPr>
          <p:nvPr/>
        </p:nvSpPr>
        <p:spPr>
          <a:xfrm>
            <a:off x="778713" y="112873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8CCD7E65-FD24-6CD4-FB74-DCD4D3111A03}"/>
              </a:ext>
            </a:extLst>
          </p:cNvPr>
          <p:cNvGrpSpPr>
            <a:grpSpLocks/>
          </p:cNvGrpSpPr>
          <p:nvPr/>
        </p:nvGrpSpPr>
        <p:grpSpPr>
          <a:xfrm>
            <a:off x="2800628" y="1154927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2509817B-C26B-EFD0-41D9-6C82DD098351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FAD12CD0-CEBF-94A1-92F4-E3BB8BA9BE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59A9AA92-3CA4-5B9C-620C-C99C25AEB0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0005B2DB-CE3E-62B8-5C98-24045BCDB7B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52996" y="320885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1F24B2FE-4FC2-39A2-D473-855843C3EF66}"/>
              </a:ext>
            </a:extLst>
          </p:cNvPr>
          <p:cNvSpPr txBox="1">
            <a:spLocks/>
          </p:cNvSpPr>
          <p:nvPr/>
        </p:nvSpPr>
        <p:spPr>
          <a:xfrm>
            <a:off x="3135282" y="4250678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3CF522E7-C824-627B-DBDE-54E020678FC7}"/>
              </a:ext>
            </a:extLst>
          </p:cNvPr>
          <p:cNvSpPr txBox="1">
            <a:spLocks/>
          </p:cNvSpPr>
          <p:nvPr/>
        </p:nvSpPr>
        <p:spPr>
          <a:xfrm>
            <a:off x="707529" y="4136227"/>
            <a:ext cx="1552285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FD01005C-CB70-8BE3-B846-3F2847E294D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3871017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F85C27FA-79F8-4A0A-63AF-C4A7726A7D9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AF86DF7-6F28-B08F-A5C8-B6908A59FD7F}"/>
              </a:ext>
            </a:extLst>
          </p:cNvPr>
          <p:cNvSpPr txBox="1"/>
          <p:nvPr/>
        </p:nvSpPr>
        <p:spPr>
          <a:xfrm>
            <a:off x="4734994" y="1336361"/>
            <a:ext cx="7352595" cy="46769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O bônus exclusivo e o uso do whatsApp estarão disponíveis enquanto durar sua franquia principal, mas</a:t>
            </a:r>
            <a:r>
              <a:rPr lang="en-US" sz="2200" noProof="1">
                <a:latin typeface="Calibri"/>
                <a:ea typeface="Calibri"/>
                <a:cs typeface="Calibri"/>
              </a:rPr>
              <a:t> </a:t>
            </a: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não se preocupe caso sua franquia acabe você poderá contratar pacotes adicionais através do App Minha Claro e voltar a utilizar os benefícios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O plano disponibiliza dois serviços digitais para você, o Claro Banca e o Skeelo que são revistas e livros digitais, eles virão discriminados em sua fatura, mas não tem cobrança adicional. 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414B2966-6478-571E-4D79-F7973585A0A4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err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</a:t>
            </a: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err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>
              <a:solidFill>
                <a:schemeClr val="bg1">
                  <a:lumMod val="50000"/>
                </a:schemeClr>
              </a:solidFill>
              <a:sym typeface="Futura"/>
            </a:endParaRP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A0B18A03-11B4-AE59-F44B-46D6957604F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266830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954F6-D66C-2F97-AE71-AFE75A6C4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4BD0400-E975-99ED-C086-857FADCC6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BD0400-E975-99ED-C086-857FADCC6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EFDB7E82-53D8-54E8-535C-7626671C826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r>
              <a:rPr lang="en-US" sz="32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Fidelidade e Vigência</a:t>
            </a:r>
            <a:endParaRPr lang="en-US" sz="32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0B1A98A0-343C-A092-20C0-4C3A08E8BCC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588" y="1152907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2266D3D3-2A39-90CD-0B58-2168E889A7E7}"/>
              </a:ext>
            </a:extLst>
          </p:cNvPr>
          <p:cNvSpPr txBox="1">
            <a:spLocks/>
          </p:cNvSpPr>
          <p:nvPr/>
        </p:nvSpPr>
        <p:spPr>
          <a:xfrm>
            <a:off x="67760" y="2089668"/>
            <a:ext cx="2916131" cy="226215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Plano- Regulatóri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/>
              <a:t>Vigencia</a:t>
            </a:r>
            <a:r>
              <a:rPr lang="en-US" sz="1400" noProof="1">
                <a:solidFill>
                  <a:srgbClr val="000000"/>
                </a:solidFill>
              </a:rPr>
              <a:t> do plan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Fidelidade</a:t>
            </a:r>
            <a:endParaRPr lang="en-US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Reajuste</a:t>
            </a:r>
            <a:endParaRPr lang="en-US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Multa.</a:t>
            </a:r>
            <a:endParaRPr lang="en-US"/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3A825625-58E2-0A78-4BDD-3E4B9914F476}"/>
              </a:ext>
            </a:extLst>
          </p:cNvPr>
          <p:cNvSpPr txBox="1">
            <a:spLocks/>
          </p:cNvSpPr>
          <p:nvPr/>
        </p:nvSpPr>
        <p:spPr>
          <a:xfrm>
            <a:off x="733889" y="1453708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031C5241-0ABB-7905-6F1D-4A4B851FB031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44A68CE5-BF42-F288-0572-C7A4CA33C8E8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A6D50C13-BE7C-F9C5-D98A-A8EE82BFC7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61D9C054-98DE-D7E6-E927-C65070A104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657F4DB2-B69C-504D-5D4B-A19DB081E25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245B72DB-F4DD-EFEB-5A06-BCC33C33ACC3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7F642AC3-3F1E-6AD4-35E2-44CC9EB834B4}"/>
              </a:ext>
            </a:extLst>
          </p:cNvPr>
          <p:cNvSpPr txBox="1">
            <a:spLocks/>
          </p:cNvSpPr>
          <p:nvPr/>
        </p:nvSpPr>
        <p:spPr>
          <a:xfrm>
            <a:off x="707529" y="413622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A7B5892E-78C9-2AFE-065F-C68F0DC9EB2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3871017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DF2B1D32-867C-7824-F489-88AABF46B1BA}"/>
              </a:ext>
            </a:extLst>
          </p:cNvPr>
          <p:cNvSpPr txBox="1">
            <a:spLocks/>
          </p:cNvSpPr>
          <p:nvPr/>
        </p:nvSpPr>
        <p:spPr>
          <a:xfrm>
            <a:off x="65619" y="4839802"/>
            <a:ext cx="2916131" cy="6463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  <a:sym typeface="Futura"/>
              </a:rPr>
              <a:t> Atente-se a todas as informações passadas. O cliente receberá por e-mail a documentação. </a:t>
            </a:r>
            <a:endParaRPr lang="pt-BR" sz="1400">
              <a:solidFill>
                <a:srgbClr val="000000"/>
              </a:solidFill>
            </a:endParaRPr>
          </a:p>
        </p:txBody>
      </p:sp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481134B3-1D30-F983-D526-462C5C0136B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A912056-CA8E-2F24-50B8-64B4AE4A503F}"/>
              </a:ext>
            </a:extLst>
          </p:cNvPr>
          <p:cNvSpPr txBox="1"/>
          <p:nvPr/>
        </p:nvSpPr>
        <p:spPr>
          <a:xfrm>
            <a:off x="4677507" y="1289538"/>
            <a:ext cx="7244861" cy="41691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Esse plano tem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fidelidade </a:t>
            </a: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de 12 meses, com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ajuste anual</a:t>
            </a: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 do IGPM contando a partir da ativação, em caso de cancelamento terá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multa</a:t>
            </a: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 no valor de R$ XX mas, não se preocupe, esse valor é proporcional aos meses faltantes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200" noProof="1">
                <a:solidFill>
                  <a:srgbClr val="000000"/>
                </a:solidFill>
                <a:latin typeface="Arial"/>
                <a:cs typeface="Arial"/>
              </a:rPr>
              <a:t>A Vigência do seu plano estará disponível até a Claro encerra a comercialização, garantindo a sua utilização por no mínimo 12 meses após a contratação. 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97CC621B-18C7-6C22-569D-F4FF35571F9B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8A7EDB72-6F11-9379-0DF4-8315BBED679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566048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FD3D7D-EA85-9654-E32A-6CA228EC06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D707BA-8F76-952D-FBC2-E80F1D5A06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D707BA-8F76-952D-FBC2-E80F1D5A0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0FC250B7-C5FB-6A51-4FAE-4A4D114122B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– Vencimento </a:t>
            </a:r>
            <a:r>
              <a:rPr lang="en-US" sz="32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novação</a:t>
            </a:r>
            <a:endParaRPr lang="en-US" sz="32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50A79C3A-BA96-47A7-027E-DBAFBA64516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1764614B-0BE4-5ACB-5343-4EDD53813440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255454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ata de venciment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Data de Venciment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Fatura Digital 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Renovação de beneficios 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Fechamento de fatura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9C533862-44C0-ABDB-1744-71BD74484B79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F7AE24F1-CC9A-DF97-2039-7D47005EA3A4}"/>
              </a:ext>
            </a:extLst>
          </p:cNvPr>
          <p:cNvGrpSpPr>
            <a:grpSpLocks/>
          </p:cNvGrpSpPr>
          <p:nvPr/>
        </p:nvGrpSpPr>
        <p:grpSpPr>
          <a:xfrm>
            <a:off x="3068722" y="1158090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4CA98EA8-1017-EA90-5D64-3E62A8254A91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89E0129A-0863-9985-4CF4-B5F41C5C46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6DF26326-302A-5CE1-6AD3-569CE6B701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81B09677-4376-8529-D9D9-04AB0119576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58FC210F-5213-FF31-212C-E7E6D28E5E02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91A5CE5D-FB87-63DA-C802-CC25409BECE7}"/>
              </a:ext>
            </a:extLst>
          </p:cNvPr>
          <p:cNvSpPr txBox="1">
            <a:spLocks/>
          </p:cNvSpPr>
          <p:nvPr/>
        </p:nvSpPr>
        <p:spPr>
          <a:xfrm>
            <a:off x="707529" y="413622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B656D1D0-DF9D-74AE-6ABB-DA9EEB43A09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3871017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803CE536-82B2-B6AD-EC27-72B3509AE691}"/>
              </a:ext>
            </a:extLst>
          </p:cNvPr>
          <p:cNvSpPr txBox="1">
            <a:spLocks/>
          </p:cNvSpPr>
          <p:nvPr/>
        </p:nvSpPr>
        <p:spPr>
          <a:xfrm>
            <a:off x="104412" y="4767169"/>
            <a:ext cx="2916131" cy="6463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  <a:sym typeface="Futura"/>
              </a:rPr>
              <a:t> Informe ao cliente todas as datas </a:t>
            </a:r>
            <a:r>
              <a:rPr lang="pt-BR" sz="1400" err="1">
                <a:solidFill>
                  <a:srgbClr val="000000"/>
                </a:solidFill>
                <a:sym typeface="Futura"/>
              </a:rPr>
              <a:t>disponivel</a:t>
            </a:r>
            <a:r>
              <a:rPr lang="pt-BR" sz="1400">
                <a:solidFill>
                  <a:srgbClr val="000000"/>
                </a:solidFill>
                <a:sym typeface="Futura"/>
              </a:rPr>
              <a:t> para vencimento e cadastre corretamente.</a:t>
            </a:r>
            <a:endParaRPr lang="pt-BR" sz="1400">
              <a:solidFill>
                <a:srgbClr val="000000"/>
              </a:solidFill>
            </a:endParaRPr>
          </a:p>
        </p:txBody>
      </p:sp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61F3C0CD-8693-6E7B-E59F-60708B36FBA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4914D262-ADFE-7A33-829F-29A335B6A9FD}"/>
              </a:ext>
            </a:extLst>
          </p:cNvPr>
          <p:cNvSpPr txBox="1"/>
          <p:nvPr/>
        </p:nvSpPr>
        <p:spPr>
          <a:xfrm>
            <a:off x="4679612" y="1569402"/>
            <a:ext cx="7244861" cy="45248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Qual a melhor data para pagamento da sua fatura? Vou deixar cadastrado o recebimento da fatura por whatsapp, tudo bem?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en-US" sz="24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Seus benefícios serão renovados em até 24h após a data de fechamento da fatura, que ocorrerá no dia XX, desde que a fatura anterior esteja paga</a:t>
            </a:r>
            <a:endParaRPr lang="en-US" sz="2400" noProof="1">
              <a:latin typeface="Arial"/>
              <a:cs typeface="Arial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en-US" sz="16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D4838A52-507C-7586-3D8B-2AD6810C7C0A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err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</a:t>
            </a: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err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>
              <a:solidFill>
                <a:schemeClr val="bg1">
                  <a:lumMod val="50000"/>
                </a:schemeClr>
              </a:solidFill>
              <a:sym typeface="Futura"/>
            </a:endParaRP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957AD38D-2567-A537-A77D-777A6189B5C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7550984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79E05-22FC-2FC9-1603-77DF45F24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4C104E1-6CF1-3DE2-F52D-BD183D8BF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C104E1-6CF1-3DE2-F52D-BD183D8BF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B659338-6A6C-71F1-5347-675D048152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- Forma de Pagamento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D298ED52-EB42-9EBA-350C-00DC55C40B4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05D93BE3-E7C6-EF0B-CB3B-36EBAB3AD54E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218521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Forma de Pagament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/>
              <a:t>Cadastre</a:t>
            </a:r>
            <a:r>
              <a:rPr lang="en-US" sz="1400" noProof="1">
                <a:solidFill>
                  <a:srgbClr val="000000"/>
                </a:solidFill>
              </a:rPr>
              <a:t> </a:t>
            </a:r>
            <a:r>
              <a:rPr lang="en-US" sz="1400" noProof="1"/>
              <a:t>a forma </a:t>
            </a:r>
            <a:r>
              <a:rPr lang="en-US" sz="1400" noProof="1">
                <a:solidFill>
                  <a:srgbClr val="000000"/>
                </a:solidFill>
              </a:rPr>
              <a:t>de Pagamento e forma de envio da fatura. 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Informe sobre o Claro Pay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DB8F0C8A-C00A-9488-C1C0-47D4EF2CB458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D6F1777E-C87F-A93C-969F-D1A390A73E44}"/>
              </a:ext>
            </a:extLst>
          </p:cNvPr>
          <p:cNvGrpSpPr>
            <a:grpSpLocks/>
          </p:cNvGrpSpPr>
          <p:nvPr/>
        </p:nvGrpSpPr>
        <p:grpSpPr>
          <a:xfrm>
            <a:off x="3068722" y="1158090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34EC5B90-C01A-546D-ACCD-D9ED3730427A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5A6EC39E-D198-8654-50A5-0662E853A0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76269232-3B88-424C-F239-E492C5CE05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BDD739B2-8D31-25BC-1A82-0609EFF98A0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55AE5FB1-4865-6561-C112-9742DD6B89DE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696AE4CE-2224-9A74-0D4A-FC4E3EAF2FCB}"/>
              </a:ext>
            </a:extLst>
          </p:cNvPr>
          <p:cNvSpPr txBox="1">
            <a:spLocks/>
          </p:cNvSpPr>
          <p:nvPr/>
        </p:nvSpPr>
        <p:spPr>
          <a:xfrm>
            <a:off x="662705" y="3217345"/>
            <a:ext cx="2916131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1A0F4290-9E07-8174-2C36-2D775148C6B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0526" y="2952135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FD8F14C1-EF4B-8A97-F7A1-78D0951F17E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1AAFE35-2FB8-B055-FA25-9CAA75AF0ABE}"/>
              </a:ext>
            </a:extLst>
          </p:cNvPr>
          <p:cNvSpPr txBox="1"/>
          <p:nvPr/>
        </p:nvSpPr>
        <p:spPr>
          <a:xfrm>
            <a:off x="4385432" y="1131496"/>
            <a:ext cx="7363815" cy="51249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400">
                <a:latin typeface="Arial"/>
                <a:cs typeface="Arial"/>
              </a:rPr>
              <a:t>T</a:t>
            </a:r>
            <a:r>
              <a:rPr lang="en-US" sz="2400" noProof="1">
                <a:latin typeface="Arial"/>
                <a:cs typeface="Arial"/>
              </a:rPr>
              <a:t>em um desconto de R$ 5,00 reais mensais cadastrando o pagamento no Débito automatico. Pode ser?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latin typeface="Arial"/>
                <a:cs typeface="Arial"/>
              </a:rPr>
              <a:t>Qual banco você tem conta? </a:t>
            </a:r>
            <a:r>
              <a:rPr lang="en-US" noProof="1">
                <a:latin typeface="Arial"/>
                <a:cs typeface="Arial"/>
              </a:rPr>
              <a:t>(</a:t>
            </a:r>
            <a:r>
              <a:rPr lang="en-US" i="1" noProof="1">
                <a:latin typeface="Arial"/>
                <a:cs typeface="Arial"/>
              </a:rPr>
              <a:t>aguarde o cliente responder e preencha com os dados da conta</a:t>
            </a:r>
            <a:r>
              <a:rPr lang="en-US" noProof="1">
                <a:latin typeface="Arial"/>
                <a:cs typeface="Arial"/>
              </a:rPr>
              <a:t>)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1600" noProof="1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1600" b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Claro Pay: </a:t>
            </a:r>
            <a:r>
              <a:rPr lang="en-US" sz="16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Ah antes que eu me esqueça, você ainda pode ganhar mais 2GB de franquia de internet, basta baixar o app</a:t>
            </a:r>
            <a:r>
              <a:rPr lang="en-US" sz="1600" noProof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sz="16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Claro Pay, associar seu número de telefone e pagar 01 conta de consumo por mês (água, luz, telefone ou gás) que esteja em seu nome e CPF. Esse bônus será válido por 30 dias, podendo ser renovado no próximo mês. </a:t>
            </a:r>
            <a:endParaRPr lang="en-US" sz="1600" noProof="1">
              <a:latin typeface="Arial"/>
              <a:cs typeface="Arial"/>
            </a:endParaRPr>
          </a:p>
        </p:txBody>
      </p:sp>
      <p:sp>
        <p:nvSpPr>
          <p:cNvPr id="8" name="Textfeld 17">
            <a:extLst>
              <a:ext uri="{FF2B5EF4-FFF2-40B4-BE49-F238E27FC236}">
                <a16:creationId xmlns:a16="http://schemas.microsoft.com/office/drawing/2014/main" id="{39E77F2C-5E50-5236-0D77-86CE7FED1B7A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err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>
              <a:solidFill>
                <a:schemeClr val="bg1">
                  <a:lumMod val="50000"/>
                </a:schemeClr>
              </a:solidFill>
              <a:sym typeface="Futura"/>
            </a:endParaRPr>
          </a:p>
        </p:txBody>
      </p:sp>
      <p:sp>
        <p:nvSpPr>
          <p:cNvPr id="6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5F7F3064-FCA2-C062-0157-846086F13F4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845CEE6-55E6-5050-08C1-5528AF3F9033}"/>
              </a:ext>
            </a:extLst>
          </p:cNvPr>
          <p:cNvSpPr txBox="1"/>
          <p:nvPr/>
        </p:nvSpPr>
        <p:spPr>
          <a:xfrm>
            <a:off x="-15690" y="3839134"/>
            <a:ext cx="3068171" cy="29392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lvl="1" indent="-285750">
              <a:spcAft>
                <a:spcPts val="60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200"/>
              <a:t>Para os bancos CAIXA ECONÔMICA FEDERAL e BANCO DO BRASIL necessário AUTORIZAR O DÉBITO em até 48 horas úteis contando do dia seguinte a compra).​ </a:t>
            </a:r>
            <a:endParaRPr lang="pt-BR" sz="1200"/>
          </a:p>
          <a:p>
            <a:pPr marL="285750" lvl="1" indent="-285750">
              <a:spcAft>
                <a:spcPts val="600"/>
              </a:spcAft>
              <a:buFont typeface="Arial"/>
              <a:buChar char="•"/>
            </a:pPr>
            <a:r>
              <a:rPr lang="en-US" sz="1200"/>
              <a:t>PIX automático: Para concluir o cadastro é necessário que autorize o pagamento dentro do App do seu banco no prazo de até 15 dias, caso contrário sua solicitação será cancelada e seu pagamento seguirá via Boleto​ Caso o débito não seja realizado ou o cliente recuse oferta de DCC, o pagamento será em boleto e o valor do plano ser</a:t>
            </a:r>
            <a:endParaRPr lang="pt-BR" sz="1200"/>
          </a:p>
        </p:txBody>
      </p:sp>
    </p:spTree>
    <p:extLst>
      <p:ext uri="{BB962C8B-B14F-4D97-AF65-F5344CB8AC3E}">
        <p14:creationId xmlns:p14="http://schemas.microsoft.com/office/powerpoint/2010/main" val="1928634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E2FEA-289A-6C14-6CC0-4737ABA88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0E0ACB-7CFB-80E3-5AE1-09324FD98F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E0ACB-7CFB-80E3-5AE1-09324FD98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7C11D0F0-AFFE-83B1-3D13-1AB52654D89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ulatório </a:t>
            </a:r>
            <a:r>
              <a:rPr lang="en-US" sz="32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adimplencia</a:t>
            </a:r>
            <a:endParaRPr lang="en-US" sz="32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7C039E47-5394-CDC9-7E2F-83517A2E7F7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588" y="1152907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D0A03BEC-D06F-1F8C-C5E2-264BAE2D45FB}"/>
              </a:ext>
            </a:extLst>
          </p:cNvPr>
          <p:cNvSpPr txBox="1">
            <a:spLocks/>
          </p:cNvSpPr>
          <p:nvPr/>
        </p:nvSpPr>
        <p:spPr>
          <a:xfrm>
            <a:off x="67760" y="2089668"/>
            <a:ext cx="2916131" cy="160043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Plano- Regulatóri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/>
              <a:t>Informe as regras de inadimplência de acordo com o RGC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ACFA573C-D19A-3994-41E4-E88042FE444C}"/>
              </a:ext>
            </a:extLst>
          </p:cNvPr>
          <p:cNvSpPr txBox="1">
            <a:spLocks/>
          </p:cNvSpPr>
          <p:nvPr/>
        </p:nvSpPr>
        <p:spPr>
          <a:xfrm>
            <a:off x="666654" y="1397679"/>
            <a:ext cx="2916131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C6DFD768-6AB9-E373-F0CB-A630165078BD}"/>
              </a:ext>
            </a:extLst>
          </p:cNvPr>
          <p:cNvGrpSpPr>
            <a:grpSpLocks/>
          </p:cNvGrpSpPr>
          <p:nvPr/>
        </p:nvGrpSpPr>
        <p:grpSpPr>
          <a:xfrm>
            <a:off x="3068722" y="1158090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000C3E31-0005-5319-0D96-92D501C40B44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26A1DA79-A59B-B781-B9C2-9E6A35506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27AF3B5B-4B58-BB9B-D52C-D0214B30B8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B78F977E-7071-715D-8C32-97A823DBE3C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CFC022A1-1239-C90B-F6BE-45C0AC984725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60DFB83F-A87B-91C7-AB90-E2D1379CF73D}"/>
              </a:ext>
            </a:extLst>
          </p:cNvPr>
          <p:cNvSpPr txBox="1">
            <a:spLocks/>
          </p:cNvSpPr>
          <p:nvPr/>
        </p:nvSpPr>
        <p:spPr>
          <a:xfrm>
            <a:off x="707529" y="413622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FF487761-28EB-F8B3-B01E-E3DD8EDD31F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3871017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AB32F4A5-83AF-B2FB-BD8D-F6329BCC7E8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77C8BC9-B6DA-E56E-D027-D58CEDCBA9AF}"/>
              </a:ext>
            </a:extLst>
          </p:cNvPr>
          <p:cNvSpPr txBox="1"/>
          <p:nvPr/>
        </p:nvSpPr>
        <p:spPr>
          <a:xfrm>
            <a:off x="4799342" y="942992"/>
            <a:ext cx="7244861" cy="510396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noProof="1">
                <a:solidFill>
                  <a:srgbClr val="000000"/>
                </a:solidFill>
                <a:latin typeface="Arial"/>
                <a:cs typeface="Arial"/>
              </a:rPr>
              <a:t>Em caso de inadimplência os serviços contratados serão suspensos, sendo que a CLARO poderá manter a continuidade parcial ou integral dos serviços durante operíodo de suspensão por inadimplência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noProof="1">
                <a:solidFill>
                  <a:srgbClr val="000000"/>
                </a:solidFill>
                <a:latin typeface="Arial"/>
                <a:cs typeface="Arial"/>
              </a:rPr>
              <a:t> No caso de manutenção parcial ou integral dos serviços, será realizada a cobrança proporcional dos serviços mantidos. A adesão a esta oferta considera que o cliente está ciente e concorda com estas regras. Qualquer hipótese de continuidade da prestação dos serviços de forma parcial ou integral durante operíodo de suspensão por inadimplência não exime o USUÁRIO da obrigação de quitar o débito original que a motivou, podendo, ainda, o contrato ser rescindido nos termos da regulamentação.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752F28D2-4BA8-D05E-2F73-DCE42298615F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FCAF192B-BEA2-5113-ACBB-60430A464FA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41089479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D9ABD9-3AB7-D22D-5236-41A9783DB2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6C12A8-32B3-E78E-E5B6-D2B20CA57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6C12A8-32B3-E78E-E5B6-D2B20CA57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95808045-AD42-3279-90D5-0D953555744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ulatório - RGC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0DE03025-9CD3-D1AB-4150-4C9191CC9E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64DE86B5-F570-B6D2-E01D-970F69444FEA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269304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rgbClr val="000000"/>
                </a:solidFill>
              </a:rPr>
              <a:t>Informação do RGC</a:t>
            </a:r>
            <a:endParaRPr lang="en-US" sz="1400" b="1">
              <a:solidFill>
                <a:srgbClr val="000000"/>
              </a:solidFill>
              <a:sym typeface="Futura"/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/>
              <a:t>Solicitar o aceite de mensagem publicitaria por SMS, Informar sobre o site não pertube e Termo unificado (contrato)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3363B21C-F457-41C0-76C6-791CC4D49F80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C03101B9-C328-C9B8-F978-7F98F1F76828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48EA2D64-F170-8BCF-C3EA-38B0E6E3A9FB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C41358A6-FDD6-C80A-49C8-5B36F8BDEF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F6555067-138C-F2B5-CCD3-61725082ED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0017C148-0D79-F889-5119-5BE26BD5D52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C76E449F-8BA1-CC0A-0B74-526249DFF48F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280066C7-15B9-4B53-AFB8-2B5E25CD0692}"/>
              </a:ext>
            </a:extLst>
          </p:cNvPr>
          <p:cNvSpPr txBox="1">
            <a:spLocks/>
          </p:cNvSpPr>
          <p:nvPr/>
        </p:nvSpPr>
        <p:spPr>
          <a:xfrm>
            <a:off x="662705" y="3427843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6B058D66-7312-0A46-6810-410243F8356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0526" y="3162632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6BA76C96-4FA9-E32C-8BCB-D7634040077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C1C8BF3-A593-E346-DCCF-8C39D2BBF7CF}"/>
              </a:ext>
            </a:extLst>
          </p:cNvPr>
          <p:cNvSpPr txBox="1"/>
          <p:nvPr/>
        </p:nvSpPr>
        <p:spPr>
          <a:xfrm>
            <a:off x="4646443" y="1217269"/>
            <a:ext cx="7407433" cy="442114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u te deixar cadastrado para receber por SMS nossas ofertas e promoções, assim você não perderá nenhuma novidade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cê pode alterar esta opção agora ou quando desejar e pode optar por não receber chamadas publicitárias mediante registro no site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  <a:hlinkClick r:id="rId15"/>
              </a:rPr>
              <a:t>www.naomeperturbe.com.br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en-US" sz="20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cê receberá no e-mail cadastrado toda a documentação referente à oferta e à venda, incluindo a etiqueta, o código único e as demais condições acordadas.</a:t>
            </a:r>
            <a:endParaRPr lang="en-US" sz="16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33A2F32B-E25F-3F83-BB09-1BFDAB7A4D02}"/>
              </a:ext>
            </a:extLst>
          </p:cNvPr>
          <p:cNvSpPr txBox="1"/>
          <p:nvPr/>
        </p:nvSpPr>
        <p:spPr>
          <a:xfrm>
            <a:off x="107577" y="4052047"/>
            <a:ext cx="2900081" cy="2623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O RGC é um regulamento geral do direito do consumidor. </a:t>
            </a:r>
            <a:endParaRPr lang="pt-BR"/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 </a:t>
            </a:r>
            <a:r>
              <a:rPr lang="pt-BR" sz="1400">
                <a:solidFill>
                  <a:srgbClr val="000000"/>
                </a:solidFill>
              </a:rPr>
              <a:t>Opt-in já vem flegado com SIM nas opções  E-mail, Ligação e SMS, porém só podemos modificar a opção SMS. </a:t>
            </a:r>
            <a:endParaRPr lang="pt-BR"/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</a:rPr>
              <a:t>Caso o cliente não queira receber ligação piblicitarias  informa-lo sobre o site "não perturbe".</a:t>
            </a:r>
          </a:p>
          <a:p>
            <a:pPr marL="180975" lvl="1" indent="-180975">
              <a:lnSpc>
                <a:spcPts val="975"/>
              </a:lnSpc>
              <a:buFont typeface="Arial,Sans-Serif"/>
              <a:buChar char="•"/>
            </a:pPr>
            <a:endParaRPr lang="pt-BR" sz="1400"/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6B7E2D86-0BBE-4A1E-306E-27E699C9FA34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Pfeil: Fünfeck 4">
            <a:hlinkClick r:id="rId16" action="ppaction://hlinksldjump"/>
            <a:extLst>
              <a:ext uri="{FF2B5EF4-FFF2-40B4-BE49-F238E27FC236}">
                <a16:creationId xmlns:a16="http://schemas.microsoft.com/office/drawing/2014/main" id="{3EFE45C0-F8AE-ED59-D5C7-AF1360FC646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4780831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6160F-3E83-C9E7-45B7-E859FC21DB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346F7A-6550-708F-549D-1FD3D1C07C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346F7A-6550-708F-549D-1FD3D1C07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BCC230C-C446-D826-CA21-6E9508EB76A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chamento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84B5F8AA-A312-A55D-2BA5-78DF76DB678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6AEEDBD2-4FB7-7130-84A2-8DB1F4BFF639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152349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Fechament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Informe sobre a liberação da primeira franquia e saldo pré pag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Solicite o Aceite do cliente. informe o protocol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37359520-1E88-0378-E86E-1CDFC9643B16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1BF07487-5945-F2C5-8330-C26101113DBC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83EE38B7-635F-5EF5-3816-4EBF651E111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B579844C-35D8-F742-56DF-6F071E40E9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5F26F364-B4E1-FB99-28BF-6BC93696E0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65F241D1-0338-436F-314F-2566734BC18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4F9769B2-EC46-8E52-89A1-15833C4C8F85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E9165F2C-3F91-F3F7-45F8-66BAD58E99BD}"/>
              </a:ext>
            </a:extLst>
          </p:cNvPr>
          <p:cNvSpPr txBox="1">
            <a:spLocks/>
          </p:cNvSpPr>
          <p:nvPr/>
        </p:nvSpPr>
        <p:spPr>
          <a:xfrm>
            <a:off x="645690" y="4311604"/>
            <a:ext cx="2916131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C758397D-A491-C4DC-DC3D-0E6B0E5D3D1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67541" y="4046394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DE45F8D0-BC6B-6738-CA3C-E4E12527A52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7FA89A4-ECA3-BA95-A083-56FC4C612002}"/>
              </a:ext>
            </a:extLst>
          </p:cNvPr>
          <p:cNvSpPr txBox="1"/>
          <p:nvPr/>
        </p:nvSpPr>
        <p:spPr>
          <a:xfrm>
            <a:off x="4646443" y="1296825"/>
            <a:ext cx="7339507" cy="442114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O primeiro crédito da sua franquia será disponibilizado em até 24hs após a migração do plano, e caso tenha créditos no seu pré-pago, estes ficarão disponíveis para aquisição de serviços e produtos, ou seja, você não perderá o valor de recarga existente em linha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en-US" sz="20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</a:t>
            </a:r>
            <a:r>
              <a:rPr lang="en-US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Nome do cliente)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ficou alguma dúvida, confirma a Migração para o plano controle do número XXXX-XXXX?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O protocolo é o XXXXX (informar o número do protocolo)</a:t>
            </a:r>
            <a:endParaRPr lang="en-US" sz="20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FC8C828D-8F29-2E08-E0DD-5E997DC0D5F4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9E9AD739-1A34-2301-EFFD-E898BE7047A8}"/>
              </a:ext>
            </a:extLst>
          </p:cNvPr>
          <p:cNvSpPr txBox="1">
            <a:spLocks/>
          </p:cNvSpPr>
          <p:nvPr/>
        </p:nvSpPr>
        <p:spPr>
          <a:xfrm>
            <a:off x="206050" y="5135942"/>
            <a:ext cx="2916131" cy="136960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Verbalize para o cliente o protocolo do atendimento, caso tenha alguma problema sistemico (geração do protocolo) informe que ele receberá por SMS o número. 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250C0767-8660-1D6A-02C0-FF955B6C127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41538300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87F99-14E4-EA8B-2C3B-20E7C8D3B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FFDD2A-54D5-F478-5E02-73308F82A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FFDD2A-54D5-F478-5E02-73308F82A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693E099D-529C-D2D6-AC84-EA275CF2CD0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chamento – App Minha Claro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B6AA0158-1C4B-7692-F86D-32D1D68BEB5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5AEC98A0-EACB-0C64-8F04-78C117EC55FC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144655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Fechament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Informe sobre APP Minha Claro, área de cobertura, aceite de privacidade, pacote de dados e canal de atendimento.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D94B9ABA-F391-CC84-CC27-8CB94B322FB6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8DEE44C3-DA44-FFC2-0171-EBF807244DB9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5D9213EF-C4F7-E552-35A2-D7D17F08713B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D506414D-A4C4-B310-F992-C256A53038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BF144506-CD38-35BA-659F-CFFD73A26D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1012EDA9-08ED-3F27-4C13-4C852884A46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9CA7C0B3-B333-C4E4-4500-04F408D282DF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541D5DD4-25C1-253E-0C1C-7437082F1676}"/>
              </a:ext>
            </a:extLst>
          </p:cNvPr>
          <p:cNvSpPr txBox="1">
            <a:spLocks/>
          </p:cNvSpPr>
          <p:nvPr/>
        </p:nvSpPr>
        <p:spPr>
          <a:xfrm>
            <a:off x="714253" y="3692818"/>
            <a:ext cx="2916131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FFA55FA1-D78C-8BA0-E9FF-27CA7CC3112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530" y="3345547"/>
            <a:ext cx="671012" cy="67101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E493288-405A-3C0B-51AD-C74B7B0D8F9B}"/>
              </a:ext>
            </a:extLst>
          </p:cNvPr>
          <p:cNvSpPr txBox="1"/>
          <p:nvPr/>
        </p:nvSpPr>
        <p:spPr>
          <a:xfrm>
            <a:off x="4717498" y="1230059"/>
            <a:ext cx="7339507" cy="53909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ão esqueça baixar o app Minha Claro para que você tenha todas as informações do seu plano, área de cobertura, aceites de privacidade e também poderá contratar pacote de dados caso sua franquia acabe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E no e-mail cadastrado, você receberá toda a documentação referente à oferta e à venda, incluindo a etiqueta, o código único e as demais condições acordadas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1900" noProof="1">
                <a:solidFill>
                  <a:srgbClr val="000000"/>
                </a:solidFill>
                <a:latin typeface="Arial"/>
                <a:ea typeface="Calibri"/>
                <a:cs typeface="Arial"/>
              </a:rPr>
              <a:t>Caso precise de suporte após a contratação entre em contato pelos seguintes canais: Telefones: 10621 ou 1052 ou Aplicativo: Minha Claro.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  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4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Seja bem vindo a Claro!</a:t>
            </a:r>
            <a:endParaRPr lang="en-US"/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6E8CDCB7-5498-37CE-39BE-B8E320A41C07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Pfeil: Chevron 5">
            <a:hlinkClick r:id="rId13" action="ppaction://hlinksldjump"/>
            <a:extLst>
              <a:ext uri="{FF2B5EF4-FFF2-40B4-BE49-F238E27FC236}">
                <a16:creationId xmlns:a16="http://schemas.microsoft.com/office/drawing/2014/main" id="{7DB7C4E5-4CCA-8A23-EF56-BFB32F0A944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874687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 err="1">
                <a:solidFill>
                  <a:schemeClr val="tx1"/>
                </a:solidFill>
              </a:rPr>
              <a:t>Finaliza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D80F2588-5361-2E46-48D8-E76411D3E24E}"/>
              </a:ext>
            </a:extLst>
          </p:cNvPr>
          <p:cNvSpPr txBox="1">
            <a:spLocks/>
          </p:cNvSpPr>
          <p:nvPr/>
        </p:nvSpPr>
        <p:spPr>
          <a:xfrm>
            <a:off x="139599" y="4192288"/>
            <a:ext cx="2916131" cy="123110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O fechamento é a etapa final da sua jornada de venda, por isso não deixe de informar todos os itens.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372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6FCCF-BDB9-1A07-0FEF-5C617DBE1A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B66A7E-5368-AA52-8B1E-C56A14A75E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66A7E-5368-AA52-8B1E-C56A14A75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019959BA-BF30-EC55-CC37-CCA60C36ACD9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/ Oferta Fixa + Migra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7DBE4F2F-F18A-1101-6F38-B524348617B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E86FED7C-B3F4-48CA-1AF8-8E1E8E10353C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123110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a Oferta </a:t>
            </a:r>
          </a:p>
          <a:p>
            <a:pPr marL="0" lvl="1">
              <a:spcAft>
                <a:spcPts val="600"/>
              </a:spcAft>
            </a:pPr>
            <a:r>
              <a:rPr lang="en-US" sz="1400" noProof="1">
                <a:solidFill>
                  <a:srgbClr val="000000"/>
                </a:solidFill>
              </a:rPr>
              <a:t>Informe ao cliente sobre a disponibilidade do Multi na residência e apresente à oferta</a:t>
            </a:r>
          </a:p>
          <a:p>
            <a:pPr marL="0" lvl="1">
              <a:spcAft>
                <a:spcPts val="600"/>
              </a:spcAft>
            </a:pPr>
            <a:r>
              <a:rPr lang="en-US" sz="1400" noProof="1">
                <a:solidFill>
                  <a:srgbClr val="000000"/>
                </a:solidFill>
              </a:rPr>
              <a:t>Valor, franquia e benefícios</a:t>
            </a: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68AD0EBF-0462-F43C-7660-F7223B5C8489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8E17BBA6-B442-9F5F-1ADD-2658D4F62A76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57337601-74F3-D8C3-25AB-32FFD358DA00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1FBAB1B9-FCC9-0236-42B2-FBB3C3A974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E95B6E72-A176-6A7A-BB06-EAE9AC55DB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1AD70F22-E245-2D15-4B71-A9FBCDD7C99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6ACC49B8-5108-2A01-5DA7-3988DE6E7E64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E9E04C58-9713-FDE7-EEA2-2F3CD8E87AB3}"/>
              </a:ext>
            </a:extLst>
          </p:cNvPr>
          <p:cNvSpPr txBox="1">
            <a:spLocks/>
          </p:cNvSpPr>
          <p:nvPr/>
        </p:nvSpPr>
        <p:spPr>
          <a:xfrm>
            <a:off x="710069" y="3388699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A0C4E7F6-4152-1E8C-CE2D-6A09E43CFCB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3162" y="3123489"/>
            <a:ext cx="671012" cy="671012"/>
          </a:xfrm>
          <a:prstGeom prst="rect">
            <a:avLst/>
          </a:prstGeom>
        </p:spPr>
      </p:pic>
      <p:sp>
        <p:nvSpPr>
          <p:cNvPr id="3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629DCADB-4CC1-6A67-EF91-A70FB7BE433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5823662" y="6324920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  <p:sp>
        <p:nvSpPr>
          <p:cNvPr id="4" name="Pfeil: Chevron 5">
            <a:hlinkClick r:id="rId16" action="ppaction://hlinksldjump"/>
            <a:extLst>
              <a:ext uri="{FF2B5EF4-FFF2-40B4-BE49-F238E27FC236}">
                <a16:creationId xmlns:a16="http://schemas.microsoft.com/office/drawing/2014/main" id="{7DD03B40-DEA4-50A6-2B9C-4E62E9B154A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913807" y="6324920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EA5414E-7208-8356-E45F-ADCCF7129F81}"/>
              </a:ext>
            </a:extLst>
          </p:cNvPr>
          <p:cNvSpPr txBox="1"/>
          <p:nvPr/>
        </p:nvSpPr>
        <p:spPr>
          <a:xfrm>
            <a:off x="4775201" y="886485"/>
            <a:ext cx="7300303" cy="534447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i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</a:t>
            </a:r>
            <a:r>
              <a:rPr lang="en-US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ome do cliente)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erifiquei que além do </a:t>
            </a: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Plano Controle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cê pode ter a </a:t>
            </a: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internet Wi-fi na sua residencia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en-US" sz="20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É o plano</a:t>
            </a: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 Multi da Claro! 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XX mega de internet para sua casa, XX GB no seu plano controle, acesso ao Aplicativo Globo Play simultaneo em 02 aparelhos e 03 licenças do Antivírus Macfee para a proteção dos seus equipamentos e 02 meses de </a:t>
            </a: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ChatGPT Plus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Tudo por apenas XX reais por mês. E você continua com whatsapp e ligações para dentro do Brasil ilimitado, livros, revistas e jornais no app Skello e Claro Banca. </a:t>
            </a:r>
            <a:endParaRPr lang="en-US" sz="2400" noProof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feil: Chevron 5">
            <a:hlinkClick r:id="rId17" action="ppaction://hlinksldjump"/>
            <a:extLst>
              <a:ext uri="{FF2B5EF4-FFF2-40B4-BE49-F238E27FC236}">
                <a16:creationId xmlns:a16="http://schemas.microsoft.com/office/drawing/2014/main" id="{429CA836-B80D-C49B-A5FB-17A35197A0CE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0121365" y="6324919"/>
            <a:ext cx="207063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 noProof="1">
                <a:solidFill>
                  <a:schemeClr val="tx1"/>
                </a:solidFill>
              </a:rPr>
              <a:t>Somente Migração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D4BCD2F-B909-3366-483B-D1BB88BA1779}"/>
              </a:ext>
            </a:extLst>
          </p:cNvPr>
          <p:cNvSpPr txBox="1"/>
          <p:nvPr/>
        </p:nvSpPr>
        <p:spPr>
          <a:xfrm>
            <a:off x="206440" y="3866157"/>
            <a:ext cx="2806211" cy="24622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noProof="1">
                <a:cs typeface="Segoe UI"/>
              </a:rPr>
              <a:t>Após verificar que endereço possui disponibilidade COM CABO faça a Oferta do Multi Sugerido no CARD do NICE.</a:t>
            </a:r>
          </a:p>
          <a:p>
            <a:r>
              <a:rPr lang="en-US" sz="1400" noProof="1">
                <a:cs typeface="Segoe UI"/>
              </a:rPr>
              <a:t>Os serviços digitais estarão discriminados na fatura mas não tem cobrança adicional.</a:t>
            </a:r>
          </a:p>
          <a:p>
            <a:r>
              <a:rPr lang="en-US" sz="1400" b="1" noProof="1">
                <a:cs typeface="Segoe UI"/>
              </a:rPr>
              <a:t>Argumente</a:t>
            </a:r>
            <a:r>
              <a:rPr lang="en-US" sz="1400" noProof="1">
                <a:cs typeface="Segoe UI"/>
              </a:rPr>
              <a:t> com o compativo do valor plano single migração e todos os produtos e benefícios do MULTI.</a:t>
            </a:r>
          </a:p>
        </p:txBody>
      </p:sp>
      <p:sp>
        <p:nvSpPr>
          <p:cNvPr id="6" name="Textfeld 17">
            <a:extLst>
              <a:ext uri="{FF2B5EF4-FFF2-40B4-BE49-F238E27FC236}">
                <a16:creationId xmlns:a16="http://schemas.microsoft.com/office/drawing/2014/main" id="{189698A7-CF19-A13D-2C61-E564388882A5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</p:spTree>
    <p:extLst>
      <p:ext uri="{BB962C8B-B14F-4D97-AF65-F5344CB8AC3E}">
        <p14:creationId xmlns:p14="http://schemas.microsoft.com/office/powerpoint/2010/main" val="3996787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84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9" imgH="350" progId="TCLayout.ActiveDocument.1">
                  <p:embed/>
                </p:oleObj>
              </mc:Choice>
              <mc:Fallback>
                <p:oleObj name="Slide do think-cell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3411" y="930495"/>
            <a:ext cx="5131408" cy="613309"/>
          </a:xfrm>
        </p:spPr>
        <p:txBody>
          <a:bodyPr vert="horz"/>
          <a:lstStyle/>
          <a:p>
            <a:r>
              <a:rPr lang="en-US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/>
                <a:cs typeface="+mn-cs"/>
              </a:rPr>
              <a:t>Jornada de </a:t>
            </a:r>
            <a:r>
              <a:rPr lang="en-US" b="1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/>
                <a:cs typeface="+mn-cs"/>
              </a:rPr>
              <a:t>venda</a:t>
            </a:r>
            <a:endParaRPr lang="en-US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Verdana"/>
              <a:cs typeface="+mn-cs"/>
            </a:endParaRPr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5428DBEC-E243-27BF-7C81-729E764DD564}"/>
              </a:ext>
            </a:extLst>
          </p:cNvPr>
          <p:cNvSpPr txBox="1">
            <a:spLocks/>
          </p:cNvSpPr>
          <p:nvPr/>
        </p:nvSpPr>
        <p:spPr>
          <a:xfrm>
            <a:off x="407988" y="1174515"/>
            <a:ext cx="1903265" cy="832464"/>
          </a:xfrm>
          <a:prstGeom prst="roundRect">
            <a:avLst>
              <a:gd name="adj" fmla="val 50000"/>
            </a:avLst>
          </a:prstGeom>
          <a:solidFill>
            <a:srgbClr val="C00000"/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/>
                <a:cs typeface="Open Sans Light"/>
              </a:rPr>
              <a:t>Oferta Migração</a:t>
            </a:r>
            <a:endParaRPr lang="en-US" sz="20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CB163432-CBD5-C87B-84BC-42946EFE4457}"/>
              </a:ext>
            </a:extLst>
          </p:cNvPr>
          <p:cNvSpPr txBox="1">
            <a:spLocks/>
          </p:cNvSpPr>
          <p:nvPr/>
        </p:nvSpPr>
        <p:spPr>
          <a:xfrm>
            <a:off x="11038114" y="4748549"/>
            <a:ext cx="1153886" cy="449639"/>
          </a:xfrm>
          <a:prstGeom prst="roundRect">
            <a:avLst>
              <a:gd name="adj" fmla="val 50000"/>
            </a:avLst>
          </a:prstGeom>
          <a:solidFill>
            <a:srgbClr val="C00000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Fim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5E623F2D-85D6-D285-FFDC-8A39D817E734}"/>
              </a:ext>
            </a:extLst>
          </p:cNvPr>
          <p:cNvSpPr txBox="1">
            <a:spLocks/>
          </p:cNvSpPr>
          <p:nvPr/>
        </p:nvSpPr>
        <p:spPr>
          <a:xfrm>
            <a:off x="407988" y="2907646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Open Sans Light"/>
                <a:cs typeface="Open Sans Light"/>
              </a:rPr>
              <a:t>Solicita CEP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63151AC8-7B63-2AC5-8BC1-6D11D30F0B35}"/>
              </a:ext>
            </a:extLst>
          </p:cNvPr>
          <p:cNvSpPr txBox="1">
            <a:spLocks/>
          </p:cNvSpPr>
          <p:nvPr/>
        </p:nvSpPr>
        <p:spPr>
          <a:xfrm>
            <a:off x="1448614" y="5315932"/>
            <a:ext cx="1903265" cy="449639"/>
          </a:xfrm>
          <a:prstGeom prst="diamond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/>
                <a:cs typeface="Open Sans Light"/>
              </a:rPr>
              <a:t>Não</a:t>
            </a:r>
            <a:endParaRPr lang="en-US" sz="12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96C6C2F7-7F17-71C0-5F31-C2B28268FF08}"/>
              </a:ext>
            </a:extLst>
          </p:cNvPr>
          <p:cNvSpPr txBox="1">
            <a:spLocks/>
          </p:cNvSpPr>
          <p:nvPr/>
        </p:nvSpPr>
        <p:spPr>
          <a:xfrm>
            <a:off x="1448614" y="4393508"/>
            <a:ext cx="1903265" cy="449639"/>
          </a:xfrm>
          <a:prstGeom prst="diamond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im</a:t>
            </a:r>
          </a:p>
        </p:txBody>
      </p:sp>
      <p:sp>
        <p:nvSpPr>
          <p:cNvPr id="15" name="TextBox 23">
            <a:extLst>
              <a:ext uri="{FF2B5EF4-FFF2-40B4-BE49-F238E27FC236}">
                <a16:creationId xmlns:a16="http://schemas.microsoft.com/office/drawing/2014/main" id="{4E3E2887-273B-C9F3-FF1B-276652777225}"/>
              </a:ext>
            </a:extLst>
          </p:cNvPr>
          <p:cNvSpPr txBox="1">
            <a:spLocks/>
          </p:cNvSpPr>
          <p:nvPr/>
        </p:nvSpPr>
        <p:spPr>
          <a:xfrm>
            <a:off x="407988" y="3582800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Open Sans Light"/>
                <a:cs typeface="Open Sans Light"/>
              </a:rPr>
              <a:t>Verifica</a:t>
            </a:r>
            <a:r>
              <a:rPr lang="en-US" sz="1200" noProof="1">
                <a:ea typeface="Open Sans Light"/>
                <a:cs typeface="Open Sans Light"/>
              </a:rPr>
              <a:t> viabilidade técnica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17" name="TextBox 27">
            <a:extLst>
              <a:ext uri="{FF2B5EF4-FFF2-40B4-BE49-F238E27FC236}">
                <a16:creationId xmlns:a16="http://schemas.microsoft.com/office/drawing/2014/main" id="{B716766D-24AA-1DD3-741D-68EF7B19DAD6}"/>
              </a:ext>
            </a:extLst>
          </p:cNvPr>
          <p:cNvSpPr txBox="1">
            <a:spLocks/>
          </p:cNvSpPr>
          <p:nvPr/>
        </p:nvSpPr>
        <p:spPr>
          <a:xfrm>
            <a:off x="5986691" y="5862519"/>
            <a:ext cx="1903265" cy="449639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Open Sans Light"/>
                <a:cs typeface="Open Sans Light"/>
              </a:rPr>
              <a:t>Somente migração</a:t>
            </a:r>
            <a:endParaRPr lang="en-US" sz="1200" b="0" i="0" u="none" strike="noStrike" kern="1200" cap="none" spc="0" normalizeH="0" baseline="0" noProof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19" name="TextBox 31">
            <a:extLst>
              <a:ext uri="{FF2B5EF4-FFF2-40B4-BE49-F238E27FC236}">
                <a16:creationId xmlns:a16="http://schemas.microsoft.com/office/drawing/2014/main" id="{D54AD976-8B6D-5038-B1F4-5A9A29E4E629}"/>
              </a:ext>
            </a:extLst>
          </p:cNvPr>
          <p:cNvSpPr txBox="1">
            <a:spLocks/>
          </p:cNvSpPr>
          <p:nvPr/>
        </p:nvSpPr>
        <p:spPr>
          <a:xfrm>
            <a:off x="8377921" y="5879611"/>
            <a:ext cx="1903265" cy="449639"/>
          </a:xfrm>
          <a:prstGeom prst="hexagon">
            <a:avLst/>
          </a:prstGeom>
          <a:solidFill>
            <a:schemeClr val="bg2"/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Open Sans Light"/>
                <a:cs typeface="Open Sans Light"/>
              </a:rPr>
              <a:t>Ativação Simplificada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20" name="TextBox 33">
            <a:extLst>
              <a:ext uri="{FF2B5EF4-FFF2-40B4-BE49-F238E27FC236}">
                <a16:creationId xmlns:a16="http://schemas.microsoft.com/office/drawing/2014/main" id="{1A90290C-6185-F1D3-7609-90F7BA776A33}"/>
              </a:ext>
            </a:extLst>
          </p:cNvPr>
          <p:cNvSpPr txBox="1">
            <a:spLocks/>
          </p:cNvSpPr>
          <p:nvPr/>
        </p:nvSpPr>
        <p:spPr>
          <a:xfrm>
            <a:off x="3946018" y="5352293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noProof="1">
                <a:ea typeface="Open Sans Light"/>
                <a:cs typeface="Open Sans Light"/>
              </a:rPr>
              <a:t>Realiza Cadastro migração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23" name="TextBox 39">
            <a:extLst>
              <a:ext uri="{FF2B5EF4-FFF2-40B4-BE49-F238E27FC236}">
                <a16:creationId xmlns:a16="http://schemas.microsoft.com/office/drawing/2014/main" id="{15FFD0EE-47E0-8AAE-0748-12A4D07BF85E}"/>
              </a:ext>
            </a:extLst>
          </p:cNvPr>
          <p:cNvSpPr txBox="1">
            <a:spLocks/>
          </p:cNvSpPr>
          <p:nvPr/>
        </p:nvSpPr>
        <p:spPr>
          <a:xfrm>
            <a:off x="6096000" y="3718490"/>
            <a:ext cx="1903265" cy="449639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Internet + Migração</a:t>
            </a:r>
          </a:p>
        </p:txBody>
      </p:sp>
      <p:sp>
        <p:nvSpPr>
          <p:cNvPr id="25" name="TextBox 43">
            <a:extLst>
              <a:ext uri="{FF2B5EF4-FFF2-40B4-BE49-F238E27FC236}">
                <a16:creationId xmlns:a16="http://schemas.microsoft.com/office/drawing/2014/main" id="{C5DB3520-B859-8C6F-A56B-CC13A7C34BFA}"/>
              </a:ext>
            </a:extLst>
          </p:cNvPr>
          <p:cNvSpPr txBox="1">
            <a:spLocks/>
          </p:cNvSpPr>
          <p:nvPr/>
        </p:nvSpPr>
        <p:spPr>
          <a:xfrm>
            <a:off x="407988" y="2232492"/>
            <a:ext cx="1903265" cy="449639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Open Sans Light"/>
                <a:cs typeface="Open Sans Light"/>
              </a:rPr>
              <a:t>Cliente aceitou migração</a:t>
            </a:r>
            <a:endParaRPr lang="en-US" sz="1200" b="0" i="0" u="none" strike="noStrike" kern="1200" cap="none" spc="0" normalizeH="0" baseline="0" noProof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Open Sans Light"/>
              <a:cs typeface="Open Sans Light"/>
            </a:endParaRPr>
          </a:p>
        </p:txBody>
      </p:sp>
      <p:sp>
        <p:nvSpPr>
          <p:cNvPr id="26" name="TextBox 45">
            <a:extLst>
              <a:ext uri="{FF2B5EF4-FFF2-40B4-BE49-F238E27FC236}">
                <a16:creationId xmlns:a16="http://schemas.microsoft.com/office/drawing/2014/main" id="{470A1E1A-0993-BECF-293D-9AF5C45B34FD}"/>
              </a:ext>
            </a:extLst>
          </p:cNvPr>
          <p:cNvSpPr txBox="1">
            <a:spLocks/>
          </p:cNvSpPr>
          <p:nvPr/>
        </p:nvSpPr>
        <p:spPr>
          <a:xfrm>
            <a:off x="3946018" y="4393506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Open Sans Light"/>
                <a:cs typeface="Open Sans Light"/>
              </a:rPr>
              <a:t>Inicia oferta do Multi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cxnSp>
        <p:nvCxnSpPr>
          <p:cNvPr id="27" name="Straight Arrow Connector 47">
            <a:extLst>
              <a:ext uri="{FF2B5EF4-FFF2-40B4-BE49-F238E27FC236}">
                <a16:creationId xmlns:a16="http://schemas.microsoft.com/office/drawing/2014/main" id="{26B077AC-6309-23FE-F437-1D3911287852}"/>
              </a:ext>
            </a:extLst>
          </p:cNvPr>
          <p:cNvCxnSpPr>
            <a:cxnSpLocks/>
            <a:stCxn id="7" idx="2"/>
            <a:endCxn id="25" idx="0"/>
          </p:cNvCxnSpPr>
          <p:nvPr/>
        </p:nvCxnSpPr>
        <p:spPr>
          <a:xfrm>
            <a:off x="1359621" y="2006979"/>
            <a:ext cx="0" cy="225513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Straight Arrow Connector 48">
            <a:extLst>
              <a:ext uri="{FF2B5EF4-FFF2-40B4-BE49-F238E27FC236}">
                <a16:creationId xmlns:a16="http://schemas.microsoft.com/office/drawing/2014/main" id="{22C48FA2-0E53-0C28-301F-AA462F569B81}"/>
              </a:ext>
            </a:extLst>
          </p:cNvPr>
          <p:cNvCxnSpPr>
            <a:cxnSpLocks/>
            <a:stCxn id="25" idx="4"/>
            <a:endCxn id="11" idx="0"/>
          </p:cNvCxnSpPr>
          <p:nvPr/>
        </p:nvCxnSpPr>
        <p:spPr>
          <a:xfrm>
            <a:off x="1359621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9" name="Straight Arrow Connector 49">
            <a:extLst>
              <a:ext uri="{FF2B5EF4-FFF2-40B4-BE49-F238E27FC236}">
                <a16:creationId xmlns:a16="http://schemas.microsoft.com/office/drawing/2014/main" id="{7A651D69-D559-57D6-FF10-17E30F9E07B1}"/>
              </a:ext>
            </a:extLst>
          </p:cNvPr>
          <p:cNvCxnSpPr>
            <a:cxnSpLocks/>
            <a:stCxn id="11" idx="2"/>
            <a:endCxn id="15" idx="0"/>
          </p:cNvCxnSpPr>
          <p:nvPr/>
        </p:nvCxnSpPr>
        <p:spPr>
          <a:xfrm>
            <a:off x="1359621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4" name="Straight Arrow Connector 61">
            <a:extLst>
              <a:ext uri="{FF2B5EF4-FFF2-40B4-BE49-F238E27FC236}">
                <a16:creationId xmlns:a16="http://schemas.microsoft.com/office/drawing/2014/main" id="{A5533D2F-0A31-CAC9-D70F-948EEEEF1C31}"/>
              </a:ext>
            </a:extLst>
          </p:cNvPr>
          <p:cNvCxnSpPr>
            <a:cxnSpLocks/>
            <a:stCxn id="13" idx="3"/>
            <a:endCxn id="26" idx="1"/>
          </p:cNvCxnSpPr>
          <p:nvPr/>
        </p:nvCxnSpPr>
        <p:spPr>
          <a:xfrm flipV="1">
            <a:off x="3351879" y="4618326"/>
            <a:ext cx="594139" cy="2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82" name="TextBox 31">
            <a:extLst>
              <a:ext uri="{FF2B5EF4-FFF2-40B4-BE49-F238E27FC236}">
                <a16:creationId xmlns:a16="http://schemas.microsoft.com/office/drawing/2014/main" id="{FD83F2FD-442B-8884-A42B-3B4B1BB97443}"/>
              </a:ext>
            </a:extLst>
          </p:cNvPr>
          <p:cNvSpPr txBox="1">
            <a:spLocks/>
          </p:cNvSpPr>
          <p:nvPr/>
        </p:nvSpPr>
        <p:spPr>
          <a:xfrm>
            <a:off x="8520430" y="3685001"/>
            <a:ext cx="1903265" cy="449639"/>
          </a:xfrm>
          <a:prstGeom prst="hexagon">
            <a:avLst/>
          </a:prstGeom>
          <a:solidFill>
            <a:schemeClr val="bg2"/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Open Sans Light"/>
                <a:cs typeface="Open Sans Light"/>
              </a:rPr>
              <a:t>NetSales</a:t>
            </a:r>
            <a:endParaRPr lang="en-US" sz="1200" b="0" i="0" u="none" strike="noStrike" kern="1200" cap="none" spc="0" normalizeH="0" baseline="0" noProof="1">
              <a:ln>
                <a:noFill/>
              </a:ln>
              <a:effectLst/>
              <a:uLnTx/>
              <a:uFillTx/>
              <a:ea typeface="Open Sans Light"/>
              <a:cs typeface="Open Sans Light"/>
            </a:endParaRPr>
          </a:p>
        </p:txBody>
      </p:sp>
      <p:cxnSp>
        <p:nvCxnSpPr>
          <p:cNvPr id="87" name="Elbow Connector 167">
            <a:extLst>
              <a:ext uri="{FF2B5EF4-FFF2-40B4-BE49-F238E27FC236}">
                <a16:creationId xmlns:a16="http://schemas.microsoft.com/office/drawing/2014/main" id="{45FEB943-E6CB-421C-DE21-664730AAD1D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132039" y="4254460"/>
            <a:ext cx="483687" cy="244045"/>
          </a:xfrm>
          <a:prstGeom prst="bentConnector3">
            <a:avLst>
              <a:gd name="adj1" fmla="val 97262"/>
            </a:avLst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0" name="Elbow Connector 167">
            <a:extLst>
              <a:ext uri="{FF2B5EF4-FFF2-40B4-BE49-F238E27FC236}">
                <a16:creationId xmlns:a16="http://schemas.microsoft.com/office/drawing/2014/main" id="{6E86B81B-23D0-9ED2-828C-A2E28BF240E0}"/>
              </a:ext>
            </a:extLst>
          </p:cNvPr>
          <p:cNvCxnSpPr>
            <a:cxnSpLocks/>
            <a:endCxn id="12" idx="1"/>
          </p:cNvCxnSpPr>
          <p:nvPr/>
        </p:nvCxnSpPr>
        <p:spPr>
          <a:xfrm rot="16200000" flipH="1">
            <a:off x="832473" y="4924611"/>
            <a:ext cx="1035528" cy="19675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Arrow Connector 61">
            <a:extLst>
              <a:ext uri="{FF2B5EF4-FFF2-40B4-BE49-F238E27FC236}">
                <a16:creationId xmlns:a16="http://schemas.microsoft.com/office/drawing/2014/main" id="{6F3EF579-7B07-31F2-D9D5-1208FA4F3978}"/>
              </a:ext>
            </a:extLst>
          </p:cNvPr>
          <p:cNvCxnSpPr>
            <a:cxnSpLocks/>
          </p:cNvCxnSpPr>
          <p:nvPr/>
        </p:nvCxnSpPr>
        <p:spPr>
          <a:xfrm>
            <a:off x="3351879" y="5539678"/>
            <a:ext cx="594139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0" name="Elbow Connector 167">
            <a:extLst>
              <a:ext uri="{FF2B5EF4-FFF2-40B4-BE49-F238E27FC236}">
                <a16:creationId xmlns:a16="http://schemas.microsoft.com/office/drawing/2014/main" id="{1F218638-7692-0653-B1F7-3DC8422E6909}"/>
              </a:ext>
            </a:extLst>
          </p:cNvPr>
          <p:cNvCxnSpPr>
            <a:cxnSpLocks/>
            <a:endCxn id="23" idx="5"/>
          </p:cNvCxnSpPr>
          <p:nvPr/>
        </p:nvCxnSpPr>
        <p:spPr>
          <a:xfrm rot="5400000" flipH="1" flipV="1">
            <a:off x="5687120" y="4105471"/>
            <a:ext cx="627246" cy="30292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4" name="Elbow Connector 167">
            <a:extLst>
              <a:ext uri="{FF2B5EF4-FFF2-40B4-BE49-F238E27FC236}">
                <a16:creationId xmlns:a16="http://schemas.microsoft.com/office/drawing/2014/main" id="{78AD8C5D-757B-9E9E-E726-65653FA8D097}"/>
              </a:ext>
            </a:extLst>
          </p:cNvPr>
          <p:cNvCxnSpPr>
            <a:cxnSpLocks/>
          </p:cNvCxnSpPr>
          <p:nvPr/>
        </p:nvCxnSpPr>
        <p:spPr>
          <a:xfrm rot="16200000" flipH="1">
            <a:off x="5656294" y="5780949"/>
            <a:ext cx="547662" cy="163140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6" name="Straight Arrow Connector 48">
            <a:extLst>
              <a:ext uri="{FF2B5EF4-FFF2-40B4-BE49-F238E27FC236}">
                <a16:creationId xmlns:a16="http://schemas.microsoft.com/office/drawing/2014/main" id="{3120C9E3-FBA9-CF37-DC75-6880CD63BC70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7943060" y="3943310"/>
            <a:ext cx="434861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9" name="Straight Arrow Connector 48">
            <a:extLst>
              <a:ext uri="{FF2B5EF4-FFF2-40B4-BE49-F238E27FC236}">
                <a16:creationId xmlns:a16="http://schemas.microsoft.com/office/drawing/2014/main" id="{7B17CEFD-7621-E037-8FA0-ABAA1D6E536C}"/>
              </a:ext>
            </a:extLst>
          </p:cNvPr>
          <p:cNvCxnSpPr>
            <a:cxnSpLocks/>
          </p:cNvCxnSpPr>
          <p:nvPr/>
        </p:nvCxnSpPr>
        <p:spPr>
          <a:xfrm>
            <a:off x="7781834" y="6117997"/>
            <a:ext cx="434861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1" name="Elbow Connector 167">
            <a:extLst>
              <a:ext uri="{FF2B5EF4-FFF2-40B4-BE49-F238E27FC236}">
                <a16:creationId xmlns:a16="http://schemas.microsoft.com/office/drawing/2014/main" id="{E1701EF3-DF7E-6132-9882-031E75BCC925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0423695" y="3858718"/>
            <a:ext cx="1191362" cy="889831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3" name="Elbow Connector 167">
            <a:extLst>
              <a:ext uri="{FF2B5EF4-FFF2-40B4-BE49-F238E27FC236}">
                <a16:creationId xmlns:a16="http://schemas.microsoft.com/office/drawing/2014/main" id="{12F73443-4C4C-A76A-0071-303AA4CA4813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10213596" y="5198188"/>
            <a:ext cx="1401461" cy="947852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863830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D1A0B-DF32-C823-89F8-6288AC56A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34D5F8B-E0E4-2296-6F59-AD691CF105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4D5F8B-E0E4-2296-6F59-AD691CF10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1026AD59-2FF2-A3FE-C97E-1DE2B5CB328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555" y="70977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Dados Pessoais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61F045A7-8D1C-9EA8-E647-36E1BBFFB9E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B00354B4-25B7-D62A-AAE4-3D1B441AB46E}"/>
              </a:ext>
            </a:extLst>
          </p:cNvPr>
          <p:cNvSpPr txBox="1">
            <a:spLocks/>
          </p:cNvSpPr>
          <p:nvPr/>
        </p:nvSpPr>
        <p:spPr>
          <a:xfrm>
            <a:off x="158441" y="1716772"/>
            <a:ext cx="2916131" cy="181588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ões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noProof="1">
                <a:solidFill>
                  <a:srgbClr val="000000"/>
                </a:solidFill>
              </a:rPr>
              <a:t>Para iniciar a coleta de dados, informe que você vai verificar a agenda de instalação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Dados: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noProof="1">
                <a:solidFill>
                  <a:srgbClr val="000000"/>
                </a:solidFill>
              </a:rPr>
              <a:t>Nome completo, e-mail e telefone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 noProof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666026A1-2680-95CB-90C4-619A345FA0B3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3F7773DC-6278-E5BE-E7B3-CD4C4C0D0578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F4FD6525-D2C6-0251-F298-7C7635896450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33F1078E-B0E8-7345-5E2A-37C236058A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384C6EA5-5A8E-4C0C-F6A6-2B8ED3713C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69356878-2D17-53BF-4FEC-CEABAF69C2F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810D9203-0A64-8BDD-8AD4-8000BAD93CCE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4F0C5DFA-4F79-1B6E-605F-0049D7BF7F41}"/>
              </a:ext>
            </a:extLst>
          </p:cNvPr>
          <p:cNvSpPr txBox="1">
            <a:spLocks/>
          </p:cNvSpPr>
          <p:nvPr/>
        </p:nvSpPr>
        <p:spPr>
          <a:xfrm>
            <a:off x="657749" y="4448759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3BEB92D8-B410-496E-B721-27060E4CF14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5482" y="4183549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42413C7F-4A5C-9351-A7CA-137176F2B34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12465" y="6325437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1CE1E07-2ADC-3174-ACC6-9C7FA43DDB13}"/>
              </a:ext>
            </a:extLst>
          </p:cNvPr>
          <p:cNvSpPr txBox="1"/>
          <p:nvPr/>
        </p:nvSpPr>
        <p:spPr>
          <a:xfrm>
            <a:off x="4847314" y="1235713"/>
            <a:ext cx="7186245" cy="46097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esse momento preciso de alguns dados para verificar agenda de instalação da internet na sua residência. </a:t>
            </a:r>
            <a:endParaRPr lang="en-US" sz="2400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Por favor, me informe seu nome completo. Esse número que estamos falando vou deixar como o contato </a:t>
            </a:r>
            <a:r>
              <a:rPr lang="pt-BR" sz="20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</a:t>
            </a:r>
            <a:r>
              <a:rPr lang="pt-BR" sz="2000" i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operador verbaliza</a:t>
            </a:r>
            <a:r>
              <a:rPr lang="pt-BR" sz="20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), </a:t>
            </a: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qual é o seu e-mail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O e-mail é importante para você receber as informações da compra e sua fatura.</a:t>
            </a:r>
            <a:endParaRPr lang="en-US" sz="2400">
              <a:solidFill>
                <a:srgbClr val="000000"/>
              </a:solidFill>
              <a:latin typeface="Arial"/>
              <a:ea typeface="Calibri"/>
              <a:cs typeface="Calibri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EF83B88-EAD3-A2CA-6091-5CC4497D2E75}"/>
              </a:ext>
            </a:extLst>
          </p:cNvPr>
          <p:cNvSpPr txBox="1"/>
          <p:nvPr/>
        </p:nvSpPr>
        <p:spPr>
          <a:xfrm>
            <a:off x="171614" y="5123312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noProof="1">
                <a:cs typeface="Segoe UI"/>
              </a:rPr>
              <a:t>Com a aceitação da oferta Multi, o Cadastro será realizado totalmente no NetSales</a:t>
            </a:r>
            <a:endParaRPr lang="pt-BR" noProof="1"/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B94BC902-A52C-FB32-99E3-A8576F7A38AB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F6F17E1C-D3FE-5627-B2C6-1AAC1318041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30921973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EB00E-369E-E910-155C-88A04C7C84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D271F3-1F4D-9DA3-2B4B-5429A5C74E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D271F3-1F4D-9DA3-2B4B-5429A5C74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B27C8F82-55D5-9A60-F04C-6AE8191B0DD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/ RGC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6C191794-B0C0-3DAB-C22C-69DD5AF40DB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AB35FDA7-031F-E789-076C-6AD8830DA5D5}"/>
              </a:ext>
            </a:extLst>
          </p:cNvPr>
          <p:cNvSpPr txBox="1">
            <a:spLocks/>
          </p:cNvSpPr>
          <p:nvPr/>
        </p:nvSpPr>
        <p:spPr>
          <a:xfrm>
            <a:off x="134995" y="1820727"/>
            <a:ext cx="2916131" cy="261610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</a:rPr>
              <a:t>Informação do RGC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noProof="1">
                <a:solidFill>
                  <a:srgbClr val="000000"/>
                </a:solidFill>
              </a:rPr>
              <a:t>Informe o protocolo, solicitar o aceite de mensagem publicitaria por SMS, Informar sobre o site não pertube e Termo unificado (contrato)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475F66EE-448E-5DB2-9351-3B0D729ED5C3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A01D6AF3-5B02-19FD-50C7-8D6708D1B302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678B9ABF-C947-EC06-B67E-3DC192CB3D4D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8017CB3A-E26C-A8C4-2740-2933F59018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2AFCE592-FC1A-333C-8135-BE7D949555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F4F9F274-DB07-9824-40E4-74D4BC9A1BD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27874" y="3165517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1220C4A2-F81A-36E4-7059-9FDE2EE7073F}"/>
              </a:ext>
            </a:extLst>
          </p:cNvPr>
          <p:cNvSpPr txBox="1">
            <a:spLocks/>
          </p:cNvSpPr>
          <p:nvPr/>
        </p:nvSpPr>
        <p:spPr>
          <a:xfrm>
            <a:off x="3310160" y="4230784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A440D1B6-D810-B91F-4D2B-D000A3FCFBFB}"/>
              </a:ext>
            </a:extLst>
          </p:cNvPr>
          <p:cNvSpPr txBox="1">
            <a:spLocks/>
          </p:cNvSpPr>
          <p:nvPr/>
        </p:nvSpPr>
        <p:spPr>
          <a:xfrm>
            <a:off x="662705" y="3427843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87E9D4BC-236D-7EC8-F3F5-915895E79CA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0526" y="3162632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650B6B84-A911-28BF-17AD-923D4713D20D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C8E2734-D9AB-6A4E-24A9-E868C6664113}"/>
              </a:ext>
            </a:extLst>
          </p:cNvPr>
          <p:cNvSpPr txBox="1"/>
          <p:nvPr/>
        </p:nvSpPr>
        <p:spPr>
          <a:xfrm>
            <a:off x="4676989" y="1146793"/>
            <a:ext cx="7286407" cy="49597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Anote o número do </a:t>
            </a: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protocolo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desta ligação </a:t>
            </a:r>
            <a:r>
              <a:rPr lang="en-US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verbalize)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u te deixar cadastrado para receber por SMS nossas ofertas e promoções, assim você não perderá nenhuma novidade. Você pode alterar esta opção agora ou quando desejar e pode optar por não receber chamadas publicitárias mediante registro no site 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  <a:hlinkClick r:id="rId15"/>
              </a:rPr>
              <a:t>www.naomeperturbe.com.br</a:t>
            </a: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en-US" sz="20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E no e-mail cadastrado, você receberá toda a documentação referente à oferta e à venda, incluindo a etiqueta, o código único e as demais condições acordadas.</a:t>
            </a:r>
            <a:endParaRPr lang="en-US" sz="16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9A2623E-9748-E01C-D758-DC08B6C34B8E}"/>
              </a:ext>
            </a:extLst>
          </p:cNvPr>
          <p:cNvSpPr txBox="1"/>
          <p:nvPr/>
        </p:nvSpPr>
        <p:spPr>
          <a:xfrm>
            <a:off x="388969" y="3660313"/>
            <a:ext cx="2900081" cy="33468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O RGC é um regulamento geral do direito do consumidor. </a:t>
            </a:r>
            <a:endParaRPr lang="en-US" noProof="1"/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 Opt-in já vem flegado com SIM nas opções  E-mail, Ligação e SMS, porém só podemos modificar a opção SMS. </a:t>
            </a:r>
            <a:endParaRPr lang="en-US" noProof="1"/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Caso o cliente não queira receber ligação piblicitarias  informa-lo sobre o site "não perturbe".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Caso o cliente não possa anotar o protocolo o cliente receberá por sms.</a:t>
            </a:r>
          </a:p>
          <a:p>
            <a:pPr marL="180975" lvl="1" indent="-180975">
              <a:lnSpc>
                <a:spcPts val="975"/>
              </a:lnSpc>
              <a:buFont typeface="Arial,Sans-Serif"/>
              <a:buChar char="•"/>
            </a:pPr>
            <a:endParaRPr lang="en-US" sz="1400" noProof="1"/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BFC1EA3C-E9D5-4EE4-47C3-1850BC314C8A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6" action="ppaction://hlinksldjump"/>
            <a:extLst>
              <a:ext uri="{FF2B5EF4-FFF2-40B4-BE49-F238E27FC236}">
                <a16:creationId xmlns:a16="http://schemas.microsoft.com/office/drawing/2014/main" id="{8513A5F1-CAB1-F528-3C46-5D48639FC71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9269163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050E7-FBCE-3F27-D599-C7E14397F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1D31D7-59C3-5E39-2A0F-2CAB5E9768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1D31D7-59C3-5E39-2A0F-2CAB5E976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D0C9FD4B-9357-F076-7B14-9A1EE730F72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reço 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49EB935A-6273-E11C-5D8B-C21827DF77E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2C23E217-375A-E613-5DA4-A83A64DC7952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166199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noProof="1">
                <a:solidFill>
                  <a:srgbClr val="000000"/>
                </a:solidFill>
              </a:rPr>
              <a:t>Confirmação do Endereço</a:t>
            </a:r>
          </a:p>
          <a:p>
            <a:pPr marL="0" lvl="1">
              <a:spcAft>
                <a:spcPts val="600"/>
              </a:spcAft>
            </a:pPr>
            <a:r>
              <a:rPr lang="en-US" sz="1400" noProof="1">
                <a:solidFill>
                  <a:srgbClr val="000000"/>
                </a:solidFill>
              </a:rPr>
              <a:t>Preencha o endereço solicitado no inicio do cadastro e confirme com cliente os seguintes dados; </a:t>
            </a:r>
            <a:endParaRPr lang="en-US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</a:pPr>
            <a:r>
              <a:rPr lang="en-US" sz="1400" noProof="1">
                <a:solidFill>
                  <a:srgbClr val="000000"/>
                </a:solidFill>
              </a:rPr>
              <a:t>CEP, Logradouro, Número, Complemento, Bairro, Cidadee Estado.</a:t>
            </a:r>
            <a:endParaRPr lang="en-US" sz="1400" b="1" noProof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D2778ECA-03F7-AF8C-9E8F-E53B705581D5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D9BBCEF9-95CA-8B9C-0146-0E8243A934F0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50AAF9F3-F284-9E35-47ED-EFC97058D5F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BD5FA762-DC41-C599-70BC-C77F7172C9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930E9BB0-954B-2EC1-A94F-F46ED02245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0FA96645-FC29-666D-1E52-32F7C3FDBBD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6142D081-39FA-96E7-DF04-2471EDB0BF30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CA0B8ECA-AC37-24B2-6394-495BDDA66119}"/>
              </a:ext>
            </a:extLst>
          </p:cNvPr>
          <p:cNvSpPr txBox="1">
            <a:spLocks/>
          </p:cNvSpPr>
          <p:nvPr/>
        </p:nvSpPr>
        <p:spPr>
          <a:xfrm>
            <a:off x="673911" y="39203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1139D051-07DC-CE09-57AB-17ED4C4CAC0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655174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201FD984-966D-4645-27C6-7DD0E3E365C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787211" y="632607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EFD2AA9-67B2-4BC6-0672-F0E63158B41E}"/>
              </a:ext>
            </a:extLst>
          </p:cNvPr>
          <p:cNvSpPr txBox="1"/>
          <p:nvPr/>
        </p:nvSpPr>
        <p:spPr>
          <a:xfrm>
            <a:off x="4841631" y="2074986"/>
            <a:ext cx="7069015" cy="35786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</a:t>
            </a:r>
            <a:r>
              <a:rPr lang="pt-BR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ome do cliente), </a:t>
            </a:r>
            <a:r>
              <a:rPr lang="pt-BR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a internet residencial será instalada no endereço (Logradouro), Número xx, complemento, bairro, cidade, estado.  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Está correto?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pt-BR" sz="24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400">
              <a:latin typeface="Arial"/>
              <a:cs typeface="Arial"/>
            </a:endParaRPr>
          </a:p>
        </p:txBody>
      </p:sp>
      <p:sp>
        <p:nvSpPr>
          <p:cNvPr id="6" name="Textfeld 17">
            <a:extLst>
              <a:ext uri="{FF2B5EF4-FFF2-40B4-BE49-F238E27FC236}">
                <a16:creationId xmlns:a16="http://schemas.microsoft.com/office/drawing/2014/main" id="{007AB262-0773-9EBF-9AA3-6E623B7830C2}"/>
              </a:ext>
            </a:extLst>
          </p:cNvPr>
          <p:cNvSpPr txBox="1">
            <a:spLocks/>
          </p:cNvSpPr>
          <p:nvPr/>
        </p:nvSpPr>
        <p:spPr>
          <a:xfrm>
            <a:off x="196845" y="4462968"/>
            <a:ext cx="2916131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pt-BR" sz="1400" b="1">
                <a:solidFill>
                  <a:srgbClr val="000000"/>
                </a:solidFill>
              </a:rPr>
              <a:t>Importante cadastrar o endereço corretamente para a instalação.</a:t>
            </a: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F1AA3EBF-787E-A77D-7486-8AD5C5F1EE30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EDBF252E-E749-B749-BF0A-2D57FAAFA7A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9434712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6F620-6CE3-C44D-2A14-BC238D4F2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10D547B-64F3-F47B-8FEA-212BD8339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0D547B-64F3-F47B-8FEA-212BD8339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1D254FF-C8C5-1E60-17AC-FCE4DE900C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57186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Dados Pessoais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54194C7E-3F78-AC33-D987-45E48B1DD31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35408A3D-9D2F-BA8D-2BB0-0C2B9D2B8F09}"/>
              </a:ext>
            </a:extLst>
          </p:cNvPr>
          <p:cNvSpPr txBox="1">
            <a:spLocks/>
          </p:cNvSpPr>
          <p:nvPr/>
        </p:nvSpPr>
        <p:spPr>
          <a:xfrm>
            <a:off x="158441" y="1716772"/>
            <a:ext cx="2916131" cy="226215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</a:pPr>
            <a:r>
              <a:rPr lang="en-US" sz="1400" b="1" noProof="1">
                <a:solidFill>
                  <a:srgbClr val="000000"/>
                </a:solidFill>
              </a:rPr>
              <a:t>Dados Pessoais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noProof="1">
                <a:solidFill>
                  <a:srgbClr val="000000"/>
                </a:solidFill>
              </a:rPr>
              <a:t>Preencha CPF, data de nascimento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noProof="1">
                <a:solidFill>
                  <a:srgbClr val="000000"/>
                </a:solidFill>
              </a:rPr>
              <a:t>Consultar base Claro</a:t>
            </a:r>
            <a:endParaRPr lang="en-US" sz="1400" noProof="1"/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CDF65B1C-E228-9449-7803-209191CB348B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B1A3139A-76B4-C6AF-7078-934DE0A6BDAE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AE07FDF6-C918-0C7F-4CEF-C415D9A30CB4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0C50ACF1-152B-3287-C25D-EE25789237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C4A66987-616E-3BA7-1D47-2A3B922D0F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23922AA4-0078-7400-0B5E-227EB9C6AC0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53BE07E1-0986-A530-AF0D-3A69C99BB375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10E360C7-8A3A-73B6-E3EE-C553DF1EF301}"/>
              </a:ext>
            </a:extLst>
          </p:cNvPr>
          <p:cNvSpPr txBox="1">
            <a:spLocks/>
          </p:cNvSpPr>
          <p:nvPr/>
        </p:nvSpPr>
        <p:spPr>
          <a:xfrm>
            <a:off x="673911" y="3603861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A748342F-7101-F1F5-AE7D-7690F9F5343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338651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C8C3F6FE-91EB-4EA6-D585-F92336EA26F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12465" y="6325437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8EFC16A-35DD-C6E2-7C6F-D4994E71F3BD}"/>
              </a:ext>
            </a:extLst>
          </p:cNvPr>
          <p:cNvSpPr txBox="1"/>
          <p:nvPr/>
        </p:nvSpPr>
        <p:spPr>
          <a:xfrm>
            <a:off x="4991399" y="2187813"/>
            <a:ext cx="7186245" cy="35017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Seu CPF é o </a:t>
            </a:r>
            <a:r>
              <a:rPr lang="pt-BR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verbalize para o cliente), </a:t>
            </a:r>
            <a:r>
              <a:rPr lang="pt-BR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pode me informar sua data de nascimento?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endParaRPr lang="pt-BR" sz="24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O seu número que faremos a migração do pré pago para o controle é o número </a:t>
            </a:r>
            <a:r>
              <a:rPr lang="pt-BR" i="1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(verbalize para o cliente)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38E3824-CE62-695A-9588-869E7AB5A909}"/>
              </a:ext>
            </a:extLst>
          </p:cNvPr>
          <p:cNvSpPr txBox="1"/>
          <p:nvPr/>
        </p:nvSpPr>
        <p:spPr>
          <a:xfrm>
            <a:off x="70339" y="4443046"/>
            <a:ext cx="2743200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noProof="1">
                <a:cs typeface="Segoe UI"/>
              </a:rPr>
              <a:t>Neste momento é necessário fazer a validaçao se o cliente está na base para realizar a migração do plano de pré pago para o controle. “Consultar base Claro”</a:t>
            </a:r>
            <a:endParaRPr lang="pt-BR" noProof="1"/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AB81CEDC-1706-FFBA-3112-F20653572659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1266F9A0-3646-572D-7A44-F2B387062BB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708976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7FF21-4875-1D92-A202-0F291EBAB0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5A5A64-A65C-069E-1CA6-769E2B2CE9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A5A64-A65C-069E-1CA6-769E2B2CE9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F57D48D5-DDB0-9D3B-3160-02083D1C2F3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57186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</a:t>
            </a:r>
            <a:r>
              <a:rPr lang="en-US" sz="3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de Vencimento</a:t>
            </a: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2C17185E-A6C6-C964-8F20-C400D163FD9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ED6E6BBF-EECB-7235-ACBE-9C7E86AE9DCA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195438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noProof="1">
                <a:solidFill>
                  <a:srgbClr val="000000"/>
                </a:solidFill>
                <a:ea typeface="+mn-lt"/>
                <a:cs typeface="+mn-lt"/>
              </a:rPr>
              <a:t>Informações do vencimento</a:t>
            </a:r>
          </a:p>
          <a:p>
            <a:pPr marL="0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Cadastre a data de vencimento da fatura e forma de envio, escolhida pelo cliente.</a:t>
            </a:r>
          </a:p>
          <a:p>
            <a:pPr marL="0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Aproveite e fale sobre o valor proporcional no primeiro vencimento</a:t>
            </a:r>
          </a:p>
          <a:p>
            <a:pPr marL="0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E renovação dos benefícios do plano controle</a:t>
            </a: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9F9FED11-F812-738E-2DE7-2006703FDC4B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CD05A494-39FF-57AD-173A-C007CCE9284A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C574487E-51CA-1387-2DAB-B1D5E016EC3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E523C561-AFB7-4EBC-DEA8-828CE2157F4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0A45CB0-8AFE-7B9C-8310-97E09B17C7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D3DA1081-8E0D-B0E5-7DEF-291A689B42D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B33FA117-76CF-3021-6FE5-CA2C194910EA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80674A89-EC9D-5A33-EEA9-67CB81ADA42A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DD086534-63D0-E860-E7E3-FD7ED60EDA4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0B8FD56-6F37-C474-CD2C-43938E93B0AD}"/>
              </a:ext>
            </a:extLst>
          </p:cNvPr>
          <p:cNvSpPr txBox="1"/>
          <p:nvPr/>
        </p:nvSpPr>
        <p:spPr>
          <a:xfrm>
            <a:off x="4836494" y="1217244"/>
            <a:ext cx="7655168" cy="49078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Qual a melhor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data para o pagamento </a:t>
            </a: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da sua fatura? 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Vou deixar cadastrado o recebimento da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fatura no seu e-mail</a:t>
            </a: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, tudo bem?  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a primeira fatura o valor pode vir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proporcional,</a:t>
            </a: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 considerando o dia da instalação.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Seus benefícios do controle serão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renovados em até 24h </a:t>
            </a: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após a data de fechamento da fatura, que ocorrerá no dia XX, desde que a </a:t>
            </a:r>
            <a:r>
              <a:rPr lang="en-US" sz="22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fatura anterior esteja paga</a:t>
            </a:r>
            <a:r>
              <a:rPr lang="en-US" sz="22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.</a:t>
            </a:r>
            <a:endParaRPr lang="en-US" sz="2200" noProof="1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 noProof="1">
              <a:latin typeface="Arial"/>
              <a:cs typeface="Arial"/>
            </a:endParaRP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6FE33666-C2AC-0FF2-690E-3956EB6766F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5D1026E9-421B-A2C8-659B-C201281794F9}"/>
              </a:ext>
            </a:extLst>
          </p:cNvPr>
          <p:cNvSpPr txBox="1">
            <a:spLocks/>
          </p:cNvSpPr>
          <p:nvPr/>
        </p:nvSpPr>
        <p:spPr>
          <a:xfrm>
            <a:off x="187988" y="4732422"/>
            <a:ext cx="2916131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Incentivo ao envio da fatura digital.</a:t>
            </a:r>
            <a:endParaRPr lang="en-US" sz="1400" b="1" noProof="1">
              <a:solidFill>
                <a:srgbClr val="156082"/>
              </a:solidFill>
            </a:endParaRPr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3D861E9D-1AC2-4243-D608-D7EB1E62318E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0B6B2A90-2A3C-28FE-73FF-043C4ADA63F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478613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9F8B3B-8C65-D871-E74D-3C9ABAF20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025770-DDE3-DE09-C048-AC24A520E0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25770-DDE3-DE09-C048-AC24A520E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FCF621A3-3D25-4888-E592-3F91AED5F8C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Forma de Pagamento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B2F6913D-D8A2-2AB7-3600-7AB94D2197B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00EE33C8-1238-6924-D384-530CCCBA5FD5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535531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noProof="1">
                <a:solidFill>
                  <a:srgbClr val="000000"/>
                </a:solidFill>
                <a:ea typeface="+mn-lt"/>
                <a:cs typeface="+mn-lt"/>
              </a:rPr>
              <a:t>Informações do vencimento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Cadastre a forma de pagamento (agência/ Conta) e envio da fatura (e-mail / Correios) 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Incentive o cliente a cadastrar o Débito em Conta + Fatura Digital, desda forma ele receberá R$ 10, 00 reais de desconto.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Caso o cliente recuse o DCC, apresente as outras formas de pagamento (Boleto)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Caso cliente não queira colocar no débito agora, incentive à entrar no APP e colocar depois para receber o beneficio do desconto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endParaRPr lang="en-US" sz="1400" noProof="1"/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noProof="1"/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EE083E7C-87F7-D954-3986-7E2BA32F9EF9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E342C9F1-BD0D-9D18-42EF-B0A9AF29C734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21DFD93F-8260-E3D8-DC9D-20648E60D317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9BBA1F74-404F-E912-875E-B075A8E7C8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2F31A3E8-889F-58DD-60CB-C86FD07659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434A21C9-F875-BCC0-20FB-B3020381E8B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C03C25D6-EBF9-5886-A5BD-794AC680E2AD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CF6D1B2C-BAEA-7150-3544-B35A9E0BD35E}"/>
              </a:ext>
            </a:extLst>
          </p:cNvPr>
          <p:cNvSpPr txBox="1">
            <a:spLocks/>
          </p:cNvSpPr>
          <p:nvPr/>
        </p:nvSpPr>
        <p:spPr>
          <a:xfrm>
            <a:off x="629087" y="3115802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40C84602-BA19-3FB7-9EDB-CEE099AA16E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84144" y="2850592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615B33B-6283-ADD7-200B-02080D647EC8}"/>
              </a:ext>
            </a:extLst>
          </p:cNvPr>
          <p:cNvSpPr txBox="1"/>
          <p:nvPr/>
        </p:nvSpPr>
        <p:spPr>
          <a:xfrm>
            <a:off x="4526577" y="1670326"/>
            <a:ext cx="7363815" cy="35017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400" b="1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latin typeface="Arial"/>
                <a:cs typeface="Arial"/>
              </a:rPr>
              <a:t>Temos um desconto de R$ 10,00 reais mensais cadastrando o pagamento no Débito automatico e envio da fatura por e-mail. Pode ser?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latin typeface="Arial"/>
                <a:cs typeface="Arial"/>
              </a:rPr>
              <a:t>Qual banco você tem conta? (</a:t>
            </a:r>
            <a:r>
              <a:rPr lang="en-US" sz="2000" i="1" noProof="1">
                <a:latin typeface="Arial"/>
                <a:cs typeface="Arial"/>
              </a:rPr>
              <a:t>aguarde o cliente responder e preencha com os dados da conta</a:t>
            </a:r>
            <a:r>
              <a:rPr lang="en-US" sz="2400" noProof="1">
                <a:latin typeface="Arial"/>
                <a:cs typeface="Arial"/>
              </a:rPr>
              <a:t>).</a:t>
            </a:r>
            <a:endParaRPr lang="en-US" sz="1600" noProof="1">
              <a:latin typeface="Arial"/>
              <a:cs typeface="Arial"/>
            </a:endParaRP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D5BB4F03-D7BC-9D1B-28D5-291A25195A6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656E879A-F012-5358-CA15-85B659C57E1D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5483FE00-48D2-7DAA-EFE8-A9B49B27566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8145695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3DD848-7A90-C853-E3CC-C981B7312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C658C4-8AF5-F878-0E73-2E680BFAFB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C658C4-8AF5-F878-0E73-2E680BFAF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E23B3491-0082-AD6C-CDD3-0C7855C8990A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Informação Regulatorios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9D66E8C9-BFDA-6854-963A-BBFAF914474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9D3D0805-FA7D-D58C-80ED-19FD5EDB0875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269304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noProof="1"/>
              <a:t>Informação do Plano</a:t>
            </a:r>
            <a:endParaRPr lang="en-US" noProof="1"/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 Informe ao cliente sobre a suspensão em caso de inadimplencia.</a:t>
            </a:r>
          </a:p>
          <a:p>
            <a:pPr marL="0" lvl="1">
              <a:spcAft>
                <a:spcPts val="600"/>
              </a:spcAft>
            </a:pPr>
            <a:endParaRPr lang="en-US" sz="1400" noProof="1"/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B3FB56A0-6013-EE75-07E2-7CBB88B23F01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B146C082-C5D0-02D5-5E60-E2B49ABB5943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5ABBB170-E6A3-6418-E8D2-9E118FD7D944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563EE54C-1E69-3023-68C7-3CA92E7A92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EBA89725-73B7-4C18-AAED-70D2F768CE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60E07397-987C-5926-879B-B60335EB6D1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3858D223-4D64-33BE-E86C-490E6C346BBD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1326AA13-2CF4-6892-115D-F29FB7886C9A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A2652DD7-4715-24AA-306A-BA4F9BE6EBD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CC3E241C-3D37-676A-1F9E-55C522BEF5F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B1E63CF8-3EDF-037E-B3CA-C87D8B395CD2}"/>
              </a:ext>
            </a:extLst>
          </p:cNvPr>
          <p:cNvSpPr txBox="1">
            <a:spLocks/>
          </p:cNvSpPr>
          <p:nvPr/>
        </p:nvSpPr>
        <p:spPr>
          <a:xfrm>
            <a:off x="65619" y="4839802"/>
            <a:ext cx="2916131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  <a:sym typeface="Futura"/>
              </a:rPr>
              <a:t> Esse é um dado do RGC</a:t>
            </a:r>
            <a:endParaRPr lang="pt-BR" sz="1400">
              <a:solidFill>
                <a:srgbClr val="000000"/>
              </a:solidFill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07A244A-1A66-5DBF-8B2E-C02EB0BD77AE}"/>
              </a:ext>
            </a:extLst>
          </p:cNvPr>
          <p:cNvSpPr txBox="1"/>
          <p:nvPr/>
        </p:nvSpPr>
        <p:spPr>
          <a:xfrm>
            <a:off x="4151768" y="883062"/>
            <a:ext cx="7774640" cy="518090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>
                <a:latin typeface="Arial"/>
                <a:cs typeface="Arial"/>
              </a:rPr>
              <a:t>Em caso de inadimplência os serviços contratados serão suspensos, sendo que a CLARO poderá manter a continuidade parcial ou integral dos serviços durante o período de suspensão por inadimplência. No caso de manutenção parcial ou integral dos serviços, será realizada a cobrança proporcional dos serviços mantidos. A adesão a esta oferta considera que o cliente está ciente e concorda com estas regras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>
                <a:latin typeface="Arial"/>
                <a:cs typeface="Arial"/>
              </a:rPr>
              <a:t>Qualquer hipótese de continuidade da prestação dos serviços de forma parcial ou integral durante o período de suspensão por inadimplência não exime o usuário da obrigação de quitar o débito original que a motivou, podendo, ainda, o contrato ser rescindido nos termos da regulamentação.</a:t>
            </a:r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F5E9D9F2-AD3A-4B4D-D116-5821EAB718B0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C4FB6057-234A-08EA-A008-76FB85C72D3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2041677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36BB0-E808-CA67-D1E6-623A8453C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547329-F064-8119-DF3D-5494A9778D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47329-F064-8119-DF3D-5494A9778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A9F85D7-4540-6099-99EA-2FFD2C0177A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Dados Pessoais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6A90051E-43B9-A6EB-D9D5-DACB5A8AC3C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B9A1A767-E13F-1D0E-1C77-91558992CE96}"/>
              </a:ext>
            </a:extLst>
          </p:cNvPr>
          <p:cNvSpPr txBox="1">
            <a:spLocks/>
          </p:cNvSpPr>
          <p:nvPr/>
        </p:nvSpPr>
        <p:spPr>
          <a:xfrm>
            <a:off x="158441" y="1716772"/>
            <a:ext cx="2916131" cy="218521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</a:rPr>
              <a:t>Dados </a:t>
            </a:r>
            <a:r>
              <a:rPr lang="en-US" sz="1400" b="1" err="1">
                <a:solidFill>
                  <a:srgbClr val="000000"/>
                </a:solidFill>
              </a:rPr>
              <a:t>Pessoais</a:t>
            </a:r>
            <a:endParaRPr lang="en-US" sz="1400" b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/>
              <a:t>Preencha o RG e Nome da sua mãe,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AABC8173-CAF7-5165-606F-41A439F83D87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01A7D87E-FC6F-4D1E-E439-AE0DE84F8B84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A0FB8FBC-DB06-E4D9-4AAF-9C987441F048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2E2B39D8-F642-A6D5-2B7B-6F5810E091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37608E0-10FB-2A6F-3BD1-1A273DDACA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A8ABB049-B758-32BF-4F77-A6E3C0C0EA9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FC6DBA0A-B22F-27E6-2DED-21F5F84C2E3A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06A74DC2-A830-8376-D51B-C5BB9A46BA3D}"/>
              </a:ext>
            </a:extLst>
          </p:cNvPr>
          <p:cNvSpPr txBox="1">
            <a:spLocks/>
          </p:cNvSpPr>
          <p:nvPr/>
        </p:nvSpPr>
        <p:spPr>
          <a:xfrm>
            <a:off x="673911" y="3603861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178DB86E-9DDE-0AED-F15A-1994C5DEB62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338651"/>
            <a:ext cx="671012" cy="671012"/>
          </a:xfrm>
          <a:prstGeom prst="rect">
            <a:avLst/>
          </a:prstGeom>
        </p:spPr>
      </p:pic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7041B643-FDA0-0591-A3BC-96373C56561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12465" y="6325437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7DEDB66-3C03-E9A8-B124-B5DFD80EA120}"/>
              </a:ext>
            </a:extLst>
          </p:cNvPr>
          <p:cNvSpPr txBox="1"/>
          <p:nvPr/>
        </p:nvSpPr>
        <p:spPr>
          <a:xfrm>
            <a:off x="5130820" y="3227420"/>
            <a:ext cx="5934388" cy="12087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Por favor, me informe seu RG e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pt-BR" sz="2400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o nome da sua mãe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53E22765-A965-3559-19D1-8328B147AFDD}"/>
              </a:ext>
            </a:extLst>
          </p:cNvPr>
          <p:cNvSpPr txBox="1"/>
          <p:nvPr/>
        </p:nvSpPr>
        <p:spPr>
          <a:xfrm>
            <a:off x="70339" y="4443046"/>
            <a:ext cx="2743200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/>
              <a:t>Nesta tela não é necessário perguntar ao cliente a profissão, genero e escolaridade.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364CD3A3-2443-60A1-5B42-3A21A62CF63F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4FF94572-0A8A-1E6E-7F00-E6BF911FF44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0936373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29146-F980-0601-85B7-5F6FE771F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E72ED1-29D7-EAED-3CDF-8CD265A88F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E72ED1-29D7-EAED-3CDF-8CD265A88F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841C9B61-968D-E24C-7BDF-A0DBAE03195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tos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C1988BB1-EAF3-D9F8-7695-FC236EB6FC3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B3C6E6EE-A85B-43F6-0E8E-B95FD098A9E1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218521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/>
              <a:t>Informação do Plano</a:t>
            </a:r>
            <a:endParaRPr lang="pt-BR"/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Plano – Velocidade – Download e Upload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Valor do Plano, 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Franquia,</a:t>
            </a:r>
          </a:p>
          <a:p>
            <a:pPr marL="0" lvl="1">
              <a:spcAft>
                <a:spcPts val="600"/>
              </a:spcAft>
            </a:pPr>
            <a:endParaRPr lang="en-US" sz="1400" noProof="1"/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99177564-AD8F-F184-4271-3E2E2700A0F7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10774993-15EB-C5BB-48CF-7D9874408702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C065354A-E636-A2C4-AE34-248420DEAFD7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E06DEFCA-D3EE-1272-942B-535FF0EC53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B8E090E6-67DD-04FA-79BF-9CA5B54AE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8E6F9A85-1741-C4AF-92A4-F24B0074A39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6BF2B236-B4F1-A784-06EE-8503D7B52787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5DB663EB-A29D-F110-34ED-3F18AD8F60B8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ECEB3691-7D8B-CA91-5978-7027AC224F6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C1D771F1-110C-FD3C-80E1-A2168F3BBC0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ACB9090-5115-3241-B4A5-4C27F6BE36E5}"/>
              </a:ext>
            </a:extLst>
          </p:cNvPr>
          <p:cNvSpPr txBox="1"/>
          <p:nvPr/>
        </p:nvSpPr>
        <p:spPr>
          <a:xfrm>
            <a:off x="4526577" y="1798452"/>
            <a:ext cx="7540785" cy="334784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400" noProof="1">
                <a:latin typeface="Arial"/>
                <a:cs typeface="Arial"/>
              </a:rPr>
              <a:t>Você está adquirindo o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lano Multi </a:t>
            </a:r>
            <a:r>
              <a:rPr lang="en-US" sz="2400" noProof="1">
                <a:latin typeface="Arial"/>
                <a:cs typeface="Arial"/>
              </a:rPr>
              <a:t>com internet residencial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XX Mega</a:t>
            </a:r>
            <a:r>
              <a:rPr lang="en-US" sz="2400" noProof="1">
                <a:latin typeface="Arial"/>
                <a:cs typeface="Arial"/>
              </a:rPr>
              <a:t>, sendo XX Mega de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Download</a:t>
            </a:r>
            <a:r>
              <a:rPr lang="en-US" sz="2400" noProof="1">
                <a:latin typeface="Arial"/>
                <a:cs typeface="Arial"/>
              </a:rPr>
              <a:t> e XX Mega de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Upload </a:t>
            </a:r>
            <a:r>
              <a:rPr lang="en-US" sz="2400" noProof="1">
                <a:latin typeface="Arial"/>
                <a:cs typeface="Arial"/>
              </a:rPr>
              <a:t>+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lano Controle XX Giga</a:t>
            </a:r>
            <a:r>
              <a:rPr lang="en-US" sz="2400" noProof="1">
                <a:latin typeface="Arial"/>
                <a:cs typeface="Arial"/>
              </a:rPr>
              <a:t>, sendo de XX GB na franquia e XX de bonus para as redes sociais e chat GPT. Por </a:t>
            </a:r>
            <a:r>
              <a:rPr lang="en-US" sz="24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$ XXX por mês</a:t>
            </a:r>
            <a:r>
              <a:rPr lang="en-US" sz="2400" noProof="1">
                <a:latin typeface="Arial"/>
                <a:cs typeface="Arial"/>
              </a:rPr>
              <a:t>.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29ED1CA8-FFCB-2615-B8E7-A908B1E35A1B}"/>
              </a:ext>
            </a:extLst>
          </p:cNvPr>
          <p:cNvSpPr txBox="1">
            <a:spLocks/>
          </p:cNvSpPr>
          <p:nvPr/>
        </p:nvSpPr>
        <p:spPr>
          <a:xfrm>
            <a:off x="257110" y="4856126"/>
            <a:ext cx="2916131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pt-BR" sz="1400"/>
              <a:t>Ressalte os benefícios do plano</a:t>
            </a:r>
            <a:endParaRPr lang="en-US" sz="1400"/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A93598D3-878B-E61B-B367-4110C527C030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4C0ABDC4-629D-2D71-F118-1A7986BFAFB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0128416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95F41-FCBF-2525-9AFA-55AFCFDFA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A77CF5-B1E6-5F3A-17CB-75039183D4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A77CF5-B1E6-5F3A-17CB-75039183D4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25B58E8A-BD7B-A314-0770-0C157EDCA4B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tabLst>
                <a:tab pos="1798638" algn="r"/>
              </a:tabLst>
            </a:pP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Produtos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DA54415D-6608-D4D0-5E56-375766F746C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DB0AF6B9-1BB3-6BFC-58D2-D4E0FC3BE705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138499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/>
              <a:t>I</a:t>
            </a:r>
            <a:r>
              <a:rPr lang="en-US" sz="1400" b="1" noProof="1"/>
              <a:t>nformação do Plano</a:t>
            </a:r>
            <a:endParaRPr lang="en-US" noProof="1"/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Fidelidade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Reajuste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Multa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BE6E76A4-3E69-D9FD-7402-31CC4AEB842A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9957BD2F-041E-9A63-D615-50ECACB53949}"/>
              </a:ext>
            </a:extLst>
          </p:cNvPr>
          <p:cNvGrpSpPr>
            <a:grpSpLocks/>
          </p:cNvGrpSpPr>
          <p:nvPr/>
        </p:nvGrpSpPr>
        <p:grpSpPr>
          <a:xfrm>
            <a:off x="3068722" y="1158090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BCF8B489-5EC1-FC3C-AC07-A6718E9379E8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75B8FA0C-B82D-8079-FA2A-65B83E3B1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A4608FCE-40BA-1A59-9FC0-0D5F77D208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A44B0CD3-CC16-E426-8700-7D81F339E4C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421969D3-713B-0D3B-47F3-653AA6758A74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FF344EC4-ABD4-A79C-27AC-2A2E19E53EF8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C9C011D0-373B-9D01-76E0-E79A955683E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E7DF56E7-B3E5-3DA9-8350-9B36F0041AF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98902B4-CE32-F338-16E1-EA17968A446F}"/>
              </a:ext>
            </a:extLst>
          </p:cNvPr>
          <p:cNvSpPr txBox="1"/>
          <p:nvPr/>
        </p:nvSpPr>
        <p:spPr>
          <a:xfrm>
            <a:off x="4611023" y="1377907"/>
            <a:ext cx="7540785" cy="49078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latin typeface="Arial"/>
                <a:cs typeface="Arial"/>
              </a:rPr>
              <a:t>Esse plano tem </a:t>
            </a:r>
            <a:r>
              <a:rPr lang="en-US" sz="22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fidelidade 12 meses</a:t>
            </a:r>
            <a:r>
              <a:rPr lang="en-US" sz="2200" noProof="1">
                <a:latin typeface="Arial"/>
                <a:cs typeface="Arial"/>
              </a:rPr>
              <a:t>, com </a:t>
            </a:r>
            <a:r>
              <a:rPr lang="en-US" sz="22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ajuste anual </a:t>
            </a:r>
            <a:r>
              <a:rPr lang="en-US" sz="2200" noProof="1">
                <a:latin typeface="Arial"/>
                <a:cs typeface="Arial"/>
              </a:rPr>
              <a:t>por IGPM, e em caso de cancelamento terá uma </a:t>
            </a:r>
            <a:r>
              <a:rPr lang="en-US" sz="22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multa</a:t>
            </a:r>
            <a:r>
              <a:rPr lang="en-US" sz="2200" noProof="1">
                <a:latin typeface="Arial"/>
                <a:cs typeface="Arial"/>
              </a:rPr>
              <a:t> de R$35,00 reais para cada mês faltante. 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 noProof="1"/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latin typeface="Arial"/>
                <a:cs typeface="Arial"/>
              </a:rPr>
              <a:t>Esses produtos estarão disponíveis até a Claro encerrar a comercialização, garantido a contratação por no mínimo 12 meses. 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>
              <a:latin typeface="Arial"/>
              <a:cs typeface="Arial"/>
            </a:endParaRP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B4E5CB33-C3BA-67C5-5FBA-0D4A8E4D4781}"/>
              </a:ext>
            </a:extLst>
          </p:cNvPr>
          <p:cNvSpPr txBox="1">
            <a:spLocks/>
          </p:cNvSpPr>
          <p:nvPr/>
        </p:nvSpPr>
        <p:spPr>
          <a:xfrm>
            <a:off x="194604" y="4745159"/>
            <a:ext cx="2916131" cy="201593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/>
              <a:t>Caso o cliente questione o valor da multa explique com exemplo. A multa é de R$120,00 do plano controle e R$300,00 da internet residencial. Totaliza R$420,00. Se cancelar no 10 mes, a multa será proporcional, ou seja, R$70,00 reais (faltará dois meses).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090F3075-37F1-EF9B-A7E1-563C5ED5BE8D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8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580213D2-9A3A-8D0C-D915-A57D8D07653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921229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911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9" imgH="350" progId="TCLayout.ActiveDocument.1">
                  <p:embed/>
                </p:oleObj>
              </mc:Choice>
              <mc:Fallback>
                <p:oleObj name="Slide do think-cell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2279958" y="1757270"/>
            <a:ext cx="2515202" cy="430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8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Arial Unicode MS" panose="020B0604020202020204" pitchFamily="34" charset="-128"/>
              </a:rPr>
              <a:t>Migração</a:t>
            </a:r>
            <a:endParaRPr lang="en-US" sz="2800" b="1" ker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Arial Unicode MS" panose="020B0604020202020204" pitchFamily="34" charset="-128"/>
            </a:endParaRPr>
          </a:p>
        </p:txBody>
      </p:sp>
      <p:sp>
        <p:nvSpPr>
          <p:cNvPr id="4" name="Rectangle 90">
            <a:hlinkClick r:id="rId6" action="ppaction://hlinksldjump"/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2437121" y="2431611"/>
            <a:ext cx="2200876" cy="220087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 cap="all" spc="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ornada </a:t>
            </a:r>
            <a:r>
              <a:rPr lang="en-US" b="1" cap="all" spc="100" noProof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ó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2279958" y="4806600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sz="1400" b="1">
                <a:solidFill>
                  <a:schemeClr val="tx2"/>
                </a:solidFill>
                <a:sym typeface="Futura"/>
              </a:rPr>
              <a:t>Pré X Controle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" name="Rectangle 90">
            <a:hlinkClick r:id="rId7" action="ppaction://hlinksldjump"/>
            <a:extLst>
              <a:ext uri="{FF2B5EF4-FFF2-40B4-BE49-F238E27FC236}">
                <a16:creationId xmlns:a16="http://schemas.microsoft.com/office/drawing/2014/main" id="{9ABFFE98-6F4C-6850-7C26-13E12B4E9CDA}"/>
              </a:ext>
            </a:extLst>
          </p:cNvPr>
          <p:cNvSpPr>
            <a:spLocks/>
          </p:cNvSpPr>
          <p:nvPr/>
        </p:nvSpPr>
        <p:spPr bwMode="auto">
          <a:xfrm>
            <a:off x="7554004" y="2431611"/>
            <a:ext cx="2200875" cy="220087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1500" b="1" cap="all" spc="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Jornada</a:t>
            </a:r>
          </a:p>
          <a:p>
            <a:pPr algn="ctr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1500" b="1" cap="all" spc="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esidencial</a:t>
            </a:r>
          </a:p>
          <a:p>
            <a:pPr algn="ctr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1500" b="1" cap="all" spc="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Movel</a:t>
            </a:r>
          </a:p>
        </p:txBody>
      </p:sp>
      <p:sp>
        <p:nvSpPr>
          <p:cNvPr id="11" name="Copy contact 1">
            <a:extLst>
              <a:ext uri="{FF2B5EF4-FFF2-40B4-BE49-F238E27FC236}">
                <a16:creationId xmlns:a16="http://schemas.microsoft.com/office/drawing/2014/main" id="{28448C6B-CEEF-87A3-060A-A7C82C2FF65E}"/>
              </a:ext>
            </a:extLst>
          </p:cNvPr>
          <p:cNvSpPr>
            <a:spLocks/>
          </p:cNvSpPr>
          <p:nvPr/>
        </p:nvSpPr>
        <p:spPr bwMode="gray">
          <a:xfrm>
            <a:off x="7396841" y="1757270"/>
            <a:ext cx="2515202" cy="430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8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Arial Unicode MS" panose="020B0604020202020204" pitchFamily="34" charset="-128"/>
              </a:rPr>
              <a:t>Multi</a:t>
            </a:r>
            <a:endParaRPr lang="en-US" sz="2800" b="1" ker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Arial Unicode MS" panose="020B0604020202020204" pitchFamily="34" charset="-128"/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9137750-414D-7218-FD83-9E8CD950FE06}"/>
              </a:ext>
            </a:extLst>
          </p:cNvPr>
          <p:cNvSpPr txBox="1">
            <a:spLocks/>
          </p:cNvSpPr>
          <p:nvPr/>
        </p:nvSpPr>
        <p:spPr>
          <a:xfrm>
            <a:off x="7925161" y="4783068"/>
            <a:ext cx="2515202" cy="4779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400" b="1">
                <a:solidFill>
                  <a:schemeClr val="tx2"/>
                </a:solidFill>
                <a:sym typeface="Futura"/>
              </a:rPr>
              <a:t>Internet residencial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sz="1400" b="1">
                <a:solidFill>
                  <a:schemeClr val="tx2"/>
                </a:solidFill>
                <a:sym typeface="Futura"/>
              </a:rPr>
              <a:t>Migração Pré X Control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17FF7765-427F-8C80-3172-F38F10AFE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2027" y="347081"/>
            <a:ext cx="5327945" cy="613309"/>
          </a:xfrm>
        </p:spPr>
        <p:txBody>
          <a:bodyPr vert="horz"/>
          <a:lstStyle/>
          <a:p>
            <a:r>
              <a:rPr lang="en-US" b="1" noProof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Verdana"/>
                <a:cs typeface="+mn-cs"/>
              </a:rPr>
              <a:t>Etapas de venda</a:t>
            </a:r>
          </a:p>
        </p:txBody>
      </p:sp>
    </p:spTree>
    <p:extLst>
      <p:ext uri="{BB962C8B-B14F-4D97-AF65-F5344CB8AC3E}">
        <p14:creationId xmlns:p14="http://schemas.microsoft.com/office/powerpoint/2010/main" val="14029999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9DC9D-55AC-E472-5A5C-BA843BD75B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41E93B4-18B1-DE5F-555E-1B3B103C53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E93B4-18B1-DE5F-555E-1B3B103C5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045566CB-60E9-FEA1-572B-EFA0C50A7A8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to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848F2BEF-E99F-D416-0300-C706EDFA04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35940D75-EEE3-636A-BBEB-76D0FA257BE4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226215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noProof="1">
                <a:solidFill>
                  <a:srgbClr val="000000"/>
                </a:solidFill>
                <a:ea typeface="+mn-lt"/>
                <a:cs typeface="+mn-lt"/>
              </a:rPr>
              <a:t>Informações de Instalações 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Informe sobre o credito da franquia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Saldo pré pago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BAC13262-6471-C694-01A2-3DDB336D3961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04D0CC7D-1FD8-C030-9482-EFC9B6BE1B76}"/>
              </a:ext>
            </a:extLst>
          </p:cNvPr>
          <p:cNvGrpSpPr>
            <a:grpSpLocks/>
          </p:cNvGrpSpPr>
          <p:nvPr/>
        </p:nvGrpSpPr>
        <p:grpSpPr>
          <a:xfrm>
            <a:off x="3068722" y="1158088"/>
            <a:ext cx="243413" cy="5347460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9C14F8E6-77CD-61D8-8BEE-1E601A3EC6C7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65864613-6986-E174-270E-BDF71A07BE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54CAC0B6-B684-C8C9-41D4-13ACF95984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D824AF4B-B4F7-F4F9-F24F-D7B5D3CCF2D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96F979C4-BCF0-A860-623D-6774112AE7C3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5E232CB3-BB17-1D0A-5576-01861A4F7505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6961F2D7-D48B-4C27-6BFB-B8DBEFD98A9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30598E7-9F6F-1C2A-9623-0140AC848C3A}"/>
              </a:ext>
            </a:extLst>
          </p:cNvPr>
          <p:cNvSpPr txBox="1"/>
          <p:nvPr/>
        </p:nvSpPr>
        <p:spPr>
          <a:xfrm>
            <a:off x="4455428" y="1731463"/>
            <a:ext cx="7655168" cy="3661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200">
                <a:latin typeface="Arial"/>
                <a:cs typeface="Arial"/>
              </a:rPr>
              <a:t>O </a:t>
            </a:r>
            <a:r>
              <a:rPr lang="pt-BR" sz="2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rimeiro crédito </a:t>
            </a:r>
            <a:r>
              <a:rPr lang="pt-BR" sz="2200">
                <a:latin typeface="Arial"/>
                <a:cs typeface="Arial"/>
              </a:rPr>
              <a:t>da sua franquia do plano controle será </a:t>
            </a:r>
            <a:r>
              <a:rPr lang="pt-BR" sz="2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disponibilizado em até 24hs </a:t>
            </a:r>
            <a:r>
              <a:rPr lang="pt-BR" sz="2200">
                <a:latin typeface="Arial"/>
                <a:cs typeface="Arial"/>
              </a:rPr>
              <a:t>após a migração, e caso tenha créditos no seu plano pré-pago, estes ficarão disponíveis para aquisição de serviços e produtos, ou seja, você não perderá o valor de recarga existente em linha 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>
              <a:latin typeface="Arial"/>
              <a:cs typeface="Arial"/>
            </a:endParaRP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64423166-6BD6-6013-7658-AA5C408D92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84E17D37-6185-3B70-EBE0-ADB1B9C526EB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80EA5F06-2118-B962-163E-1D180501957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8214638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322EA2-7B2F-8A7F-A4F0-10A5CC6C4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F1EC805-6E79-89A6-D753-D8AA427EF3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1EC805-6E79-89A6-D753-D8AA427EF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2E83A2AA-E55D-EEAD-5CE1-5B921E65668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Instalação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5FA48190-9693-C526-ADC3-D5C9C4B9008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DC2C37FD-68CF-9FC2-74DC-D888B9BB5778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189282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err="1">
                <a:solidFill>
                  <a:srgbClr val="000000"/>
                </a:solidFill>
                <a:ea typeface="+mn-lt"/>
                <a:cs typeface="+mn-lt"/>
              </a:rPr>
              <a:t>Informações</a:t>
            </a:r>
            <a:r>
              <a:rPr lang="en-US" sz="1400" b="1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400" b="1" err="1">
                <a:solidFill>
                  <a:srgbClr val="000000"/>
                </a:solidFill>
                <a:ea typeface="+mn-lt"/>
                <a:cs typeface="+mn-lt"/>
              </a:rPr>
              <a:t>Instalações</a:t>
            </a:r>
            <a:r>
              <a:rPr lang="en-US" sz="1400" b="1">
                <a:solidFill>
                  <a:srgbClr val="000000"/>
                </a:solidFill>
                <a:ea typeface="+mn-lt"/>
                <a:cs typeface="+mn-lt"/>
              </a:rPr>
              <a:t> 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/>
              <a:t>Informe </a:t>
            </a:r>
            <a:r>
              <a:rPr lang="en-US" sz="1400" err="1"/>
              <a:t>ao</a:t>
            </a:r>
            <a:r>
              <a:rPr lang="en-US" sz="1400"/>
              <a:t> </a:t>
            </a:r>
            <a:r>
              <a:rPr lang="en-US" sz="1400" err="1"/>
              <a:t>cliente</a:t>
            </a:r>
            <a:r>
              <a:rPr lang="en-US" sz="1400"/>
              <a:t> </a:t>
            </a:r>
            <a:r>
              <a:rPr lang="en-US" sz="1400" err="1"/>
              <a:t>sobre</a:t>
            </a:r>
            <a:r>
              <a:rPr lang="en-US" sz="1400"/>
              <a:t> as </a:t>
            </a:r>
            <a:r>
              <a:rPr lang="en-US" sz="1400" err="1"/>
              <a:t>Regras</a:t>
            </a:r>
            <a:r>
              <a:rPr lang="en-US" sz="1400"/>
              <a:t> </a:t>
            </a:r>
            <a:r>
              <a:rPr lang="en-US" sz="1400" err="1"/>
              <a:t>Instalação</a:t>
            </a:r>
            <a:r>
              <a:rPr lang="en-US" sz="1400"/>
              <a:t>, </a:t>
            </a:r>
            <a:r>
              <a:rPr lang="en-US" sz="1400" err="1"/>
              <a:t>visita</a:t>
            </a:r>
            <a:r>
              <a:rPr lang="en-US" sz="1400"/>
              <a:t> </a:t>
            </a:r>
            <a:r>
              <a:rPr lang="en-US" sz="1400" err="1"/>
              <a:t>tecnica</a:t>
            </a:r>
            <a:endParaRPr lang="en-US" sz="1400" err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574D9382-EA39-75EA-956B-C3C7729557C4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AF824179-9662-44B3-1384-D0782AB56550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666850F6-5E8F-FAAE-989C-E3774215F191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B023FA3C-218E-F743-6E2C-BE18714E60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45F51A5-02EE-01A2-C4E5-0D849AF8C0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FC7AC002-5E35-4C74-F4EB-660CAFA260B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3D635C37-73B2-418F-4E9B-393C3F78DE1D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9DF84F84-BCA9-6A6F-E84D-BF26512BC2DC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590907B2-6CFA-B8B1-2C15-518EFCEB26C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82F0601-FDD3-49BC-C771-2476DFB269FD}"/>
              </a:ext>
            </a:extLst>
          </p:cNvPr>
          <p:cNvSpPr txBox="1"/>
          <p:nvPr/>
        </p:nvSpPr>
        <p:spPr>
          <a:xfrm>
            <a:off x="4335528" y="1279844"/>
            <a:ext cx="7633742" cy="37382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latin typeface="Arial"/>
                <a:cs typeface="Arial"/>
              </a:rPr>
              <a:t>Sua </a:t>
            </a:r>
            <a:r>
              <a:rPr lang="en-US" sz="22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instalação</a:t>
            </a:r>
            <a:r>
              <a:rPr lang="en-US" sz="2200" noProof="1">
                <a:latin typeface="Arial"/>
                <a:cs typeface="Arial"/>
              </a:rPr>
              <a:t> ficou agendada para o dia XX, no período (manhã/ tarde) e horário 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200" noProof="1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200" noProof="1">
                <a:latin typeface="Arial"/>
                <a:cs typeface="Arial"/>
              </a:rPr>
              <a:t>No dia da instalação é necessário ter alguém maior de 18 anos para acompanhar a visita técnica, precisa estar portando documento com foto + comprovante de endereço.</a:t>
            </a: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85753861-3A89-47AF-73E2-AFD812852BE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8" name="Textfeld 17">
            <a:extLst>
              <a:ext uri="{FF2B5EF4-FFF2-40B4-BE49-F238E27FC236}">
                <a16:creationId xmlns:a16="http://schemas.microsoft.com/office/drawing/2014/main" id="{35A8D0C8-E14B-7417-F903-6BD160216F06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3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9E5C9980-EA4E-284C-0C6F-BDFDB4325F5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24281548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0AB11-8D9D-F6F8-D33E-B3682C422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FFCD72-BAA7-D886-E3F5-0095130DFD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FFCD72-BAA7-D886-E3F5-0095130D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2FBEB0F6-BA31-084E-6C57-B70092165AE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57186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Instalação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068496E7-A859-9133-38DD-910D99DE710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F889FD4D-D152-B2AA-D830-4EF5D3A01D4E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218521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400" b="1" err="1">
                <a:solidFill>
                  <a:srgbClr val="000000"/>
                </a:solidFill>
                <a:ea typeface="+mn-lt"/>
                <a:cs typeface="+mn-lt"/>
              </a:rPr>
              <a:t>Informações</a:t>
            </a:r>
            <a:r>
              <a:rPr lang="en-US" sz="1400" b="1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400" b="1" err="1">
                <a:solidFill>
                  <a:srgbClr val="000000"/>
                </a:solidFill>
                <a:ea typeface="+mn-lt"/>
                <a:cs typeface="+mn-lt"/>
              </a:rPr>
              <a:t>Instalações</a:t>
            </a:r>
            <a:r>
              <a:rPr lang="en-US" sz="1400" b="1">
                <a:solidFill>
                  <a:srgbClr val="000000"/>
                </a:solidFill>
                <a:ea typeface="+mn-lt"/>
                <a:cs typeface="+mn-lt"/>
              </a:rPr>
              <a:t> 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/>
              <a:t>Canal de </a:t>
            </a:r>
            <a:r>
              <a:rPr lang="en-US" sz="1400" err="1"/>
              <a:t>Atendimento</a:t>
            </a:r>
            <a:r>
              <a:rPr lang="en-US" sz="1400"/>
              <a:t> e APP Minha Claro. 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24C839CF-2EBC-2AF3-BB3F-BDA684CD22D6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A275383C-E835-6908-7788-6B3CBDEE6558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E2EC0EBD-D89B-B486-445C-4B208BB62D5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29DBF858-1CDA-6AB8-82CA-0FAA4DBF7A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6832E8B6-B3FF-ED1B-65C4-D4A746817F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915E4661-33EA-3A0B-0359-9F59A32A93A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BAAE82EB-F414-30A3-258C-475F3F96F940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8F7E1774-9CDC-2C83-82DA-5BA8F6585B51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215BDE25-E01D-3103-66FC-EAE4E4BAB28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A303D3E-101C-F7A8-5013-ECCBE310BAC3}"/>
              </a:ext>
            </a:extLst>
          </p:cNvPr>
          <p:cNvSpPr txBox="1"/>
          <p:nvPr/>
        </p:nvSpPr>
        <p:spPr>
          <a:xfrm>
            <a:off x="4372709" y="996462"/>
            <a:ext cx="7655168" cy="46769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 sz="2200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200">
                <a:latin typeface="Arial"/>
                <a:cs typeface="Arial"/>
              </a:rPr>
              <a:t>Essa instalação </a:t>
            </a:r>
            <a:r>
              <a:rPr lang="pt-BR" sz="2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não gera cobrança </a:t>
            </a:r>
            <a:r>
              <a:rPr lang="pt-BR" sz="2200">
                <a:latin typeface="Arial"/>
                <a:cs typeface="Arial"/>
              </a:rPr>
              <a:t>e caso precise de suporte dos nossos serviços após a instalação, como agendamento de visita técnica, solicitação de mudança de endereço ou outros serviços, o prazo de atendimento é de até 10 dias e poderá haver cobranças, então consulte o valor nos documentos de contratação ou no  ato da solicitação pelos nossos canais de atendimento 10621 ou App Minha Claro.</a:t>
            </a:r>
            <a:endParaRPr lang="en-US" sz="2200">
              <a:latin typeface="Arial"/>
              <a:cs typeface="Arial"/>
            </a:endParaRP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768C7762-958F-13DF-3B3F-60532E5478A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421552E4-60D4-5147-785C-0A72EE9490C3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AC4B3E61-2DCE-5FFF-4893-E78D4766241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35317160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CBCE6E-56CC-2DC0-190F-25EE435D6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5582EB-EC48-235F-B6F2-67C3E5ABB4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5582EB-EC48-235F-B6F2-67C3E5ABB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EFD7D478-6985-5C56-181B-7CACD28B47C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App Minha Claro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A6DD1905-FB85-57DA-FE68-7BCEA7D1639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5EBAA834-3FB8-6B90-8486-670863480E4B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189282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Incentivo e informações do APP Minha Claro, Claro Clube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2208FF2A-F751-9334-E8D2-F3316ADC93E0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3563D201-F42A-7DBA-1A0B-56392F8C6AEA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F21A535E-6A46-32BC-740B-4554936E1A90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7B3BCDA7-3504-F7AF-6F2C-6FAD6103D1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45B2CA7E-36D4-2DBC-C9FC-73A1B632AF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A06D294B-776E-745F-4ECD-5CB21BC92CD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8A1F5787-4BD6-E104-B858-1B35D7A7F5FB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C6E02056-F1A0-6751-A0B8-1CEEE132227E}"/>
              </a:ext>
            </a:extLst>
          </p:cNvPr>
          <p:cNvSpPr txBox="1">
            <a:spLocks/>
          </p:cNvSpPr>
          <p:nvPr/>
        </p:nvSpPr>
        <p:spPr>
          <a:xfrm>
            <a:off x="673912" y="4225184"/>
            <a:ext cx="2239906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rgbClr val="C00000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E5546834-0224-EAB1-6E6C-47474BF33C1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B309C47-3489-80C8-4AB5-05C072FBCC3D}"/>
              </a:ext>
            </a:extLst>
          </p:cNvPr>
          <p:cNvSpPr txBox="1"/>
          <p:nvPr/>
        </p:nvSpPr>
        <p:spPr>
          <a:xfrm>
            <a:off x="4372709" y="996462"/>
            <a:ext cx="7655168" cy="49597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 noProof="1">
                <a:latin typeface="Arial"/>
                <a:cs typeface="Arial"/>
              </a:rPr>
              <a:t>Baixe o </a:t>
            </a:r>
            <a:r>
              <a:rPr lang="pt-BR" sz="20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aplicativo Minha Claro </a:t>
            </a:r>
            <a:r>
              <a:rPr lang="pt-BR" sz="2000" noProof="1">
                <a:latin typeface="Arial"/>
                <a:cs typeface="Arial"/>
              </a:rPr>
              <a:t>para acompanhar a visita técnica em tempo real e se precisar, você pode reagendar a data da instalação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 sz="2000" noProof="1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No  app Minha Claro você visualiza todas as informações do seu plano, área de cobertura, aceites de privacidade e também poderá contratar pacote de dados caso sua franquia acabe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 sz="2000" noProof="1">
              <a:solidFill>
                <a:srgbClr val="000000"/>
              </a:solidFill>
              <a:latin typeface="Arial"/>
              <a:ea typeface="Calibri"/>
              <a:cs typeface="Calibri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 noProof="1">
                <a:solidFill>
                  <a:srgbClr val="000000"/>
                </a:solidFill>
                <a:latin typeface="Arial"/>
                <a:ea typeface="Calibri"/>
                <a:cs typeface="Calibri"/>
              </a:rPr>
              <a:t>Além disso você acessa o Claro Clube e ativa o o ChatGPT</a:t>
            </a:r>
            <a:endParaRPr lang="pt-BR" sz="2000" noProof="1">
              <a:latin typeface="Arial"/>
              <a:cs typeface="Arial"/>
            </a:endParaRPr>
          </a:p>
        </p:txBody>
      </p:sp>
      <p:sp>
        <p:nvSpPr>
          <p:cNvPr id="6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D72EF3F5-E82C-481F-6349-3BD0EAAAA65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 Multi 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0D8E8333-ACCF-242A-561F-60A5B0E4608D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  <p:sp>
        <p:nvSpPr>
          <p:cNvPr id="7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E37CF888-A728-B669-3601-236FF8D9BA5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29947" y="6326076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  <p:sp>
        <p:nvSpPr>
          <p:cNvPr id="4" name="Textfeld 17">
            <a:extLst>
              <a:ext uri="{FF2B5EF4-FFF2-40B4-BE49-F238E27FC236}">
                <a16:creationId xmlns:a16="http://schemas.microsoft.com/office/drawing/2014/main" id="{29A80971-D021-D8F7-01D4-67C47C8BF626}"/>
              </a:ext>
            </a:extLst>
          </p:cNvPr>
          <p:cNvSpPr txBox="1">
            <a:spLocks/>
          </p:cNvSpPr>
          <p:nvPr/>
        </p:nvSpPr>
        <p:spPr>
          <a:xfrm>
            <a:off x="194604" y="4745159"/>
            <a:ext cx="2916131" cy="72327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,Sans-Serif"/>
              <a:buChar char="•"/>
            </a:pPr>
            <a:r>
              <a:rPr lang="en-US" sz="1400" noProof="1"/>
              <a:t>No app Minha Claro o cliente resgata o Voucher do Chat GP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6768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EA9FF-28E0-5CB9-46BE-313292C77E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A094A6-EF3E-9927-5F1D-74B5CE83D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A094A6-EF3E-9927-5F1D-74B5CE83D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ECD62787-CD89-E902-9CE2-489DB245D44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 /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chamento</a:t>
            </a:r>
            <a:endParaRPr lang="en-US" sz="3200" b="1" noProof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5BF4FBF2-4F78-AF72-E61A-D7974A8451B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793" y="996024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0B10449D-4F71-F037-B443-E54E99359F9F}"/>
              </a:ext>
            </a:extLst>
          </p:cNvPr>
          <p:cNvSpPr txBox="1">
            <a:spLocks/>
          </p:cNvSpPr>
          <p:nvPr/>
        </p:nvSpPr>
        <p:spPr>
          <a:xfrm>
            <a:off x="146718" y="1716772"/>
            <a:ext cx="2916131" cy="226215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/>
              <a:t>Informação da visita técnica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Privacidade</a:t>
            </a:r>
          </a:p>
          <a:p>
            <a:pPr marL="180975" lvl="1" indent="-180975">
              <a:spcAft>
                <a:spcPts val="600"/>
              </a:spcAft>
              <a:buFont typeface="Arial,Sans-Serif"/>
              <a:buChar char="•"/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b="1">
              <a:solidFill>
                <a:srgbClr val="000000"/>
              </a:solidFill>
            </a:endParaRPr>
          </a:p>
          <a:p>
            <a:pPr marL="0" lvl="1" indent="-285750">
              <a:spcAft>
                <a:spcPts val="600"/>
              </a:spcAft>
              <a:buClr>
                <a:srgbClr val="000000"/>
              </a:buClr>
              <a:buFont typeface="Calibri"/>
              <a:buChar char="-"/>
            </a:pPr>
            <a:endParaRPr lang="en-US" sz="1400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Calibri" panose="020B0604020202020204" pitchFamily="34" charset="0"/>
              <a:buChar char="-"/>
            </a:pPr>
            <a:endParaRPr lang="en-US" sz="1400" b="1">
              <a:solidFill>
                <a:srgbClr val="156082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3ACE0A6F-BF46-16A4-93B2-CBD59F54B082}"/>
              </a:ext>
            </a:extLst>
          </p:cNvPr>
          <p:cNvSpPr txBox="1">
            <a:spLocks/>
          </p:cNvSpPr>
          <p:nvPr/>
        </p:nvSpPr>
        <p:spPr>
          <a:xfrm>
            <a:off x="745095" y="1296825"/>
            <a:ext cx="2916131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0AAB3F3F-BF0C-8773-B98B-6C4DABDF101D}"/>
              </a:ext>
            </a:extLst>
          </p:cNvPr>
          <p:cNvGrpSpPr>
            <a:grpSpLocks/>
          </p:cNvGrpSpPr>
          <p:nvPr/>
        </p:nvGrpSpPr>
        <p:grpSpPr>
          <a:xfrm>
            <a:off x="3068722" y="1158091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70CF6688-941E-A5CF-05B1-79A175E5D3C2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5FDBF88D-9778-29DC-3A4D-B64E8AF258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C25CF45-FA96-EDDD-4D18-BA34AC42B3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32C79460-CB83-D9E8-F3C6-C861FEF636A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84756" y="2952605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39E3C917-8A07-B0C6-5F06-5976DF58E77F}"/>
              </a:ext>
            </a:extLst>
          </p:cNvPr>
          <p:cNvSpPr txBox="1">
            <a:spLocks/>
          </p:cNvSpPr>
          <p:nvPr/>
        </p:nvSpPr>
        <p:spPr>
          <a:xfrm>
            <a:off x="3467042" y="4017872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9AE0811A-257E-E055-F6CB-785B2BE7A42D}"/>
              </a:ext>
            </a:extLst>
          </p:cNvPr>
          <p:cNvSpPr txBox="1">
            <a:spLocks/>
          </p:cNvSpPr>
          <p:nvPr/>
        </p:nvSpPr>
        <p:spPr>
          <a:xfrm>
            <a:off x="673911" y="422518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C834BE0F-C302-B434-9A67-8D717377BB2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39320" y="3959974"/>
            <a:ext cx="671012" cy="671012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54E2613-BD62-1565-3A58-E684711B1ED5}"/>
              </a:ext>
            </a:extLst>
          </p:cNvPr>
          <p:cNvSpPr txBox="1"/>
          <p:nvPr/>
        </p:nvSpPr>
        <p:spPr>
          <a:xfrm>
            <a:off x="4335528" y="1218426"/>
            <a:ext cx="7655168" cy="61178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>
                <a:latin typeface="Arial"/>
                <a:cs typeface="Arial"/>
              </a:rPr>
              <a:t>A Claro poderá entrar em contato se houver algum problema na sua visita técnica e pode ser que você receba um SMS ou WhatsApp solicitando a confirmação da compra. 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 sz="2000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>
                <a:latin typeface="Arial"/>
                <a:cs typeface="Arial"/>
              </a:rPr>
              <a:t>E você pode consultar como tratamos seus dados e exercer seus direitos no portal de privacidade da Claro, acessando https://www.claro.com.br/privacidade.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pt-BR" sz="2000">
              <a:latin typeface="Arial"/>
              <a:cs typeface="Arial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pt-BR" sz="2000">
                <a:latin typeface="Arial"/>
                <a:cs typeface="Arial"/>
              </a:rPr>
              <a:t>Ficou alguma dúvida? Então agradeço sua atenção, parabéns pela sua compra. </a:t>
            </a:r>
            <a:endParaRPr lang="en-US" sz="2000">
              <a:solidFill>
                <a:srgbClr val="000000"/>
              </a:solidFill>
              <a:latin typeface="Aptos" panose="02110004020202020204"/>
              <a:ea typeface="Calibri"/>
              <a:cs typeface="Calibri"/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en-US" sz="2000" b="1" noProof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Calibri"/>
                <a:cs typeface="Calibri"/>
              </a:rPr>
              <a:t>Seja bem vindo a Claro!</a:t>
            </a:r>
            <a:endParaRPr lang="en-US" sz="2000"/>
          </a:p>
          <a:p>
            <a:pPr lvl="1">
              <a:lnSpc>
                <a:spcPct val="150000"/>
              </a:lnSpc>
              <a:spcAft>
                <a:spcPts val="600"/>
              </a:spcAft>
            </a:pPr>
            <a:endParaRPr lang="en-US" sz="2400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Calibri"/>
              <a:cs typeface="Calibri"/>
            </a:endParaRPr>
          </a:p>
        </p:txBody>
      </p:sp>
      <p:sp>
        <p:nvSpPr>
          <p:cNvPr id="6" name="Pfeil: Chevron 5">
            <a:hlinkClick r:id="rId13" action="ppaction://hlinksldjump"/>
            <a:extLst>
              <a:ext uri="{FF2B5EF4-FFF2-40B4-BE49-F238E27FC236}">
                <a16:creationId xmlns:a16="http://schemas.microsoft.com/office/drawing/2014/main" id="{A8D38E41-77D4-50B7-7364-F132F0A115E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482801" y="632543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 err="1">
                <a:solidFill>
                  <a:schemeClr val="tx1"/>
                </a:solidFill>
              </a:rPr>
              <a:t>Finaliza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0A4B19D6-1627-DF28-2D7E-098C4C04518D}"/>
              </a:ext>
            </a:extLst>
          </p:cNvPr>
          <p:cNvSpPr txBox="1">
            <a:spLocks/>
          </p:cNvSpPr>
          <p:nvPr/>
        </p:nvSpPr>
        <p:spPr>
          <a:xfrm>
            <a:off x="127829" y="236094"/>
            <a:ext cx="1234532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ulti</a:t>
            </a:r>
          </a:p>
        </p:txBody>
      </p:sp>
    </p:spTree>
    <p:extLst>
      <p:ext uri="{BB962C8B-B14F-4D97-AF65-F5344CB8AC3E}">
        <p14:creationId xmlns:p14="http://schemas.microsoft.com/office/powerpoint/2010/main" val="30470840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2A3EAE-41BE-7F12-4AB4-128E9EAEFE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E10BB0B-17CC-AAB6-FE6D-6923124EF7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1" imgW="395" imgH="396" progId="TCLayout.ActiveDocument.1">
                  <p:embed/>
                </p:oleObj>
              </mc:Choice>
              <mc:Fallback>
                <p:oleObj name="Slide do think-cell" r:id="rId11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10BB0B-17CC-AAB6-FE6D-6923124EF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BAAF15CA-8E47-07A1-7AEF-CC0B2167503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usa Migração Controle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E63AAC46-7A82-8BBA-5088-9505A4805235}"/>
              </a:ext>
            </a:extLst>
          </p:cNvPr>
          <p:cNvGrpSpPr>
            <a:grpSpLocks/>
          </p:cNvGrpSpPr>
          <p:nvPr/>
        </p:nvGrpSpPr>
        <p:grpSpPr>
          <a:xfrm>
            <a:off x="247441" y="966257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310CAEF3-263D-43BA-735A-FCCB941665C5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9F1DD13C-F476-32BD-0C13-BF3F598A03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0D7D6C7-27E2-BD1A-873D-54B0EFAA12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BB936B9F-7F13-429E-668B-DCE071F42BE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8899" y="2799620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D16BE131-71D7-56BC-FD06-B20A448D6EAC}"/>
              </a:ext>
            </a:extLst>
          </p:cNvPr>
          <p:cNvSpPr txBox="1">
            <a:spLocks/>
          </p:cNvSpPr>
          <p:nvPr/>
        </p:nvSpPr>
        <p:spPr>
          <a:xfrm>
            <a:off x="691185" y="386488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7751231-19D0-80AE-95DB-A4902A4FB3A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060637" y="3188752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Achou Caro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DFCB93C6-84B7-045F-73F2-D11AEE9D5F1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060637" y="2232253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</a:rPr>
              <a:t>Pl</a:t>
            </a:r>
            <a:r>
              <a:rPr lang="en-US" noProof="1">
                <a:solidFill>
                  <a:schemeClr val="tx2"/>
                </a:solidFill>
              </a:rPr>
              <a:t>ano atual atende a necessidade</a:t>
            </a:r>
            <a:endParaRPr lang="en-US" i="0" u="none" strike="noStrike" kern="1200" spc="0" normalizeH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619106C-5D78-4226-8B0F-6A73C9BA208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60637" y="4145250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Insatisfeito com a Claro</a:t>
            </a:r>
          </a:p>
        </p:txBody>
      </p:sp>
      <p:cxnSp>
        <p:nvCxnSpPr>
          <p:cNvPr id="12" name="Gerader Verbinder 46">
            <a:extLst>
              <a:ext uri="{FF2B5EF4-FFF2-40B4-BE49-F238E27FC236}">
                <a16:creationId xmlns:a16="http://schemas.microsoft.com/office/drawing/2014/main" id="{A1C2AD15-C7FB-E61C-272D-9744059DFBAC}"/>
              </a:ext>
            </a:extLst>
          </p:cNvPr>
          <p:cNvCxnSpPr>
            <a:cxnSpLocks/>
          </p:cNvCxnSpPr>
          <p:nvPr/>
        </p:nvCxnSpPr>
        <p:spPr>
          <a:xfrm flipH="1">
            <a:off x="5368071" y="3047786"/>
            <a:ext cx="64864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47">
            <a:extLst>
              <a:ext uri="{FF2B5EF4-FFF2-40B4-BE49-F238E27FC236}">
                <a16:creationId xmlns:a16="http://schemas.microsoft.com/office/drawing/2014/main" id="{454849B1-AAB5-3D67-DA3E-51F2068CAE52}"/>
              </a:ext>
            </a:extLst>
          </p:cNvPr>
          <p:cNvCxnSpPr>
            <a:cxnSpLocks/>
          </p:cNvCxnSpPr>
          <p:nvPr/>
        </p:nvCxnSpPr>
        <p:spPr>
          <a:xfrm flipH="1">
            <a:off x="5368071" y="4004285"/>
            <a:ext cx="64102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BE4E62D7-E337-1D0E-AA70-EEA9CE99BEE4}"/>
              </a:ext>
            </a:extLst>
          </p:cNvPr>
          <p:cNvCxnSpPr>
            <a:cxnSpLocks/>
          </p:cNvCxnSpPr>
          <p:nvPr/>
        </p:nvCxnSpPr>
        <p:spPr>
          <a:xfrm flipH="1">
            <a:off x="5368071" y="4960783"/>
            <a:ext cx="64102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3">
            <a:extLst>
              <a:ext uri="{FF2B5EF4-FFF2-40B4-BE49-F238E27FC236}">
                <a16:creationId xmlns:a16="http://schemas.microsoft.com/office/drawing/2014/main" id="{E120488D-7AAC-5758-39ED-F7E934745E8E}"/>
              </a:ext>
            </a:extLst>
          </p:cNvPr>
          <p:cNvSpPr>
            <a:spLocks/>
          </p:cNvSpPr>
          <p:nvPr/>
        </p:nvSpPr>
        <p:spPr bwMode="gray">
          <a:xfrm>
            <a:off x="5368070" y="2200206"/>
            <a:ext cx="648647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Reforçar que com o plano controle ele tem mais GB na franquia e bonus exclusivos para redes sociais pagando um valor fixo mensal</a:t>
            </a:r>
            <a:r>
              <a:rPr lang="en-US" sz="1600" noProof="1">
                <a:solidFill>
                  <a:prstClr val="black"/>
                </a:solidFill>
              </a:rPr>
              <a:t>, sem se preocupar em ficar sem internet no decorrer do mês.</a:t>
            </a:r>
            <a:endParaRPr lang="en-US" sz="16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DE110972-1A22-C615-ACC4-58FEA0302385}"/>
              </a:ext>
            </a:extLst>
          </p:cNvPr>
          <p:cNvSpPr>
            <a:spLocks/>
          </p:cNvSpPr>
          <p:nvPr/>
        </p:nvSpPr>
        <p:spPr bwMode="gray">
          <a:xfrm>
            <a:off x="5368070" y="3279815"/>
            <a:ext cx="648647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noProof="1">
                <a:solidFill>
                  <a:prstClr val="black"/>
                </a:solidFill>
              </a:rPr>
              <a:t>Verifique a faixa de recarga e argumente com o valor fixo mensal com muito mais GB de navegação de internet.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BD4CBEF-1ACC-EC16-F169-6E5410FCA675}"/>
              </a:ext>
            </a:extLst>
          </p:cNvPr>
          <p:cNvSpPr>
            <a:spLocks/>
          </p:cNvSpPr>
          <p:nvPr/>
        </p:nvSpPr>
        <p:spPr bwMode="gray">
          <a:xfrm>
            <a:off x="5368070" y="4113204"/>
            <a:ext cx="659533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noProof="1">
                <a:solidFill>
                  <a:prstClr val="black"/>
                </a:solidFill>
              </a:rPr>
              <a:t>Reforce que a Claro é uma empresa que está sempre inovando e buscando o melhor sinal para os clientes. Essa é uma oferta exclusiva que pode trazer uma melhor experiência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6F5B33A4-089F-7CE1-A7DB-B4E8F3913A3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189399" y="3265641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rgbClr val="C00000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D7040834-E41E-700F-0813-A23CBC66EB9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189399" y="230914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rgbClr val="C00000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BEC1C009-C980-2FAA-D300-ABFDD1214CA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189399" y="4222139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rgbClr val="C00000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2" name="Pfeil: Chevron 5">
            <a:hlinkClick r:id="rId15" action="ppaction://hlinksldjump"/>
            <a:extLst>
              <a:ext uri="{FF2B5EF4-FFF2-40B4-BE49-F238E27FC236}">
                <a16:creationId xmlns:a16="http://schemas.microsoft.com/office/drawing/2014/main" id="{0CA230BD-A20D-A9B8-647C-9243DFB4AFC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 err="1">
                <a:solidFill>
                  <a:schemeClr val="tx1"/>
                </a:solidFill>
              </a:rPr>
              <a:t>Voltar</a:t>
            </a:r>
            <a:r>
              <a:rPr lang="en-US" b="1">
                <a:solidFill>
                  <a:schemeClr val="tx1"/>
                </a:solidFill>
              </a:rPr>
              <a:t> Migração</a:t>
            </a:r>
          </a:p>
        </p:txBody>
      </p:sp>
    </p:spTree>
    <p:extLst>
      <p:ext uri="{BB962C8B-B14F-4D97-AF65-F5344CB8AC3E}">
        <p14:creationId xmlns:p14="http://schemas.microsoft.com/office/powerpoint/2010/main" val="346872857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4309D8-A364-CDF0-BA66-75E1E3B10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DDB7CF-4E93-68EA-0EB3-0228D115BD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6" progId="TCLayout.ActiveDocument.1">
                  <p:embed/>
                </p:oleObj>
              </mc:Choice>
              <mc:Fallback>
                <p:oleObj name="Slide do think-cell" r:id="rId1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DDB7CF-4E93-68EA-0EB3-0228D115B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570F33D9-D456-1604-343D-F13C362A55C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usa Multi + Migração</a:t>
            </a:r>
            <a:endParaRPr lang="en-US" sz="3200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45EFB947-72EA-F5DC-1A02-00AFEEF98422}"/>
              </a:ext>
            </a:extLst>
          </p:cNvPr>
          <p:cNvGrpSpPr>
            <a:grpSpLocks/>
          </p:cNvGrpSpPr>
          <p:nvPr/>
        </p:nvGrpSpPr>
        <p:grpSpPr>
          <a:xfrm>
            <a:off x="247441" y="966257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9ED1DEB9-7345-ED8D-73B0-001D8F09C2C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1EB784F2-BEC4-5321-8252-9747227769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FD025B90-B2AA-2A9D-6A64-D5914094F1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53">
            <a:extLst>
              <a:ext uri="{FF2B5EF4-FFF2-40B4-BE49-F238E27FC236}">
                <a16:creationId xmlns:a16="http://schemas.microsoft.com/office/drawing/2014/main" id="{BE0D55AA-A1EB-2AA8-C79E-830AB2EA420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08899" y="2799620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F74A46EB-076B-A4DA-D894-3017E5C3962A}"/>
              </a:ext>
            </a:extLst>
          </p:cNvPr>
          <p:cNvSpPr txBox="1">
            <a:spLocks/>
          </p:cNvSpPr>
          <p:nvPr/>
        </p:nvSpPr>
        <p:spPr>
          <a:xfrm>
            <a:off x="691185" y="386488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A62968A-1EBD-4B96-653C-DF166D3D0C4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060637" y="3188752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Achou Caro</a:t>
            </a:r>
            <a:endParaRPr lang="en-US" i="0" u="none" strike="noStrike" kern="1200" spc="0" normalizeH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7" name="Rectangle 3">
            <a:hlinkClick r:id="rId17" action="ppaction://hlinksldjump"/>
            <a:extLst>
              <a:ext uri="{FF2B5EF4-FFF2-40B4-BE49-F238E27FC236}">
                <a16:creationId xmlns:a16="http://schemas.microsoft.com/office/drawing/2014/main" id="{FF001D87-901E-CC56-E62B-E7169D49842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060637" y="2232253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S</a:t>
            </a:r>
            <a:r>
              <a:rPr lang="en-US" noProof="1">
                <a:solidFill>
                  <a:schemeClr val="tx2"/>
                </a:solidFill>
              </a:rPr>
              <a:t>omente Migra</a:t>
            </a:r>
            <a:endParaRPr lang="en-US" i="0" u="none" strike="noStrike" kern="1200" spc="0" normalizeH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2122919-E44C-79FB-6665-6EEB93D2BCB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60637" y="4145250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Insatisfeito com a Claro</a:t>
            </a:r>
            <a:endParaRPr lang="en-US" i="0" u="none" strike="noStrike" kern="1200" spc="0" normalizeH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cxnSp>
        <p:nvCxnSpPr>
          <p:cNvPr id="12" name="Gerader Verbinder 46">
            <a:extLst>
              <a:ext uri="{FF2B5EF4-FFF2-40B4-BE49-F238E27FC236}">
                <a16:creationId xmlns:a16="http://schemas.microsoft.com/office/drawing/2014/main" id="{5724C578-EAB6-51EB-D962-172D5B349DC4}"/>
              </a:ext>
            </a:extLst>
          </p:cNvPr>
          <p:cNvCxnSpPr>
            <a:cxnSpLocks/>
          </p:cNvCxnSpPr>
          <p:nvPr/>
        </p:nvCxnSpPr>
        <p:spPr>
          <a:xfrm flipH="1">
            <a:off x="5368071" y="3047786"/>
            <a:ext cx="64864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47">
            <a:extLst>
              <a:ext uri="{FF2B5EF4-FFF2-40B4-BE49-F238E27FC236}">
                <a16:creationId xmlns:a16="http://schemas.microsoft.com/office/drawing/2014/main" id="{6975B4A6-63E8-36FF-94EC-AD12323D9343}"/>
              </a:ext>
            </a:extLst>
          </p:cNvPr>
          <p:cNvCxnSpPr>
            <a:cxnSpLocks/>
          </p:cNvCxnSpPr>
          <p:nvPr/>
        </p:nvCxnSpPr>
        <p:spPr>
          <a:xfrm flipH="1">
            <a:off x="5368071" y="4004285"/>
            <a:ext cx="64102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C0BBAF29-27B8-C01C-259C-38207519387A}"/>
              </a:ext>
            </a:extLst>
          </p:cNvPr>
          <p:cNvCxnSpPr>
            <a:cxnSpLocks/>
          </p:cNvCxnSpPr>
          <p:nvPr/>
        </p:nvCxnSpPr>
        <p:spPr>
          <a:xfrm flipH="1">
            <a:off x="5368071" y="4960783"/>
            <a:ext cx="641027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3">
            <a:extLst>
              <a:ext uri="{FF2B5EF4-FFF2-40B4-BE49-F238E27FC236}">
                <a16:creationId xmlns:a16="http://schemas.microsoft.com/office/drawing/2014/main" id="{7633A38E-FFA4-FC41-13D2-A34F765794A6}"/>
              </a:ext>
            </a:extLst>
          </p:cNvPr>
          <p:cNvSpPr>
            <a:spLocks/>
          </p:cNvSpPr>
          <p:nvPr/>
        </p:nvSpPr>
        <p:spPr bwMode="gray">
          <a:xfrm>
            <a:off x="5368070" y="2323316"/>
            <a:ext cx="648647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Reforçar que o valor do Multi compensa muito… fazer o comparativo para o cliente.</a:t>
            </a:r>
            <a:endParaRPr lang="en-US" sz="16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A3D8B0B1-2299-4CC0-99D9-A652D509C120}"/>
              </a:ext>
            </a:extLst>
          </p:cNvPr>
          <p:cNvSpPr>
            <a:spLocks/>
          </p:cNvSpPr>
          <p:nvPr/>
        </p:nvSpPr>
        <p:spPr bwMode="gray">
          <a:xfrm>
            <a:off x="5368070" y="3156705"/>
            <a:ext cx="648647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noProof="1">
                <a:solidFill>
                  <a:prstClr val="black"/>
                </a:solidFill>
              </a:rPr>
              <a:t>Verifique a faixa de recarga e argumente com o valor fixo mensal com muito mais GB de navegação de internet. Compare com o valor separado se for somente BL e Single controle.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340A86CD-C189-9594-C8B7-9531EF5388C1}"/>
              </a:ext>
            </a:extLst>
          </p:cNvPr>
          <p:cNvSpPr>
            <a:spLocks/>
          </p:cNvSpPr>
          <p:nvPr/>
        </p:nvSpPr>
        <p:spPr bwMode="gray">
          <a:xfrm>
            <a:off x="5368070" y="4113204"/>
            <a:ext cx="659533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noProof="1">
                <a:solidFill>
                  <a:prstClr val="black"/>
                </a:solidFill>
              </a:rPr>
              <a:t>Reforce que a Claro é uma empresa que está sempre inovando e buscando o melhor sinal para os clientes. Essa é uma oferta exclusiva que pode trazer uma melhor experiência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06DFB12D-801D-ED91-3044-9CBA9BDE3D1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189399" y="3265641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rgbClr val="C00000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FBCAD9AB-0458-03A6-585F-D5F7B1EAC58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189399" y="230914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rgbClr val="C00000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9B3398D9-1A44-AD49-873C-2E918A12DFC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189399" y="4222138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>
                <a:solidFill>
                  <a:srgbClr val="C00000"/>
                </a:solidFill>
              </a:rPr>
              <a:t>03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02E78951-0E6E-6BE7-D9C6-78AA27DD379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60637" y="5221902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Concorrênci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CD8330-4584-6616-37F0-33DFB78C9412}"/>
              </a:ext>
            </a:extLst>
          </p:cNvPr>
          <p:cNvSpPr>
            <a:spLocks/>
          </p:cNvSpPr>
          <p:nvPr/>
        </p:nvSpPr>
        <p:spPr bwMode="gray">
          <a:xfrm>
            <a:off x="5368070" y="5189856"/>
            <a:ext cx="659533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I</a:t>
            </a:r>
            <a:r>
              <a:rPr lang="en-US" sz="1600" noProof="1">
                <a:solidFill>
                  <a:prstClr val="black"/>
                </a:solidFill>
              </a:rPr>
              <a:t>nforme que a Claro é a melhor operadora de internet do Brasil, eleita pelo consumidor e o valor desta oferta exclusive no Multi é muito vantajosa. Faça o comparativo para o cliente.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AF606A21-CAAD-D12C-3353-864C4DA603A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189399" y="5298790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>
                <a:solidFill>
                  <a:srgbClr val="C00000"/>
                </a:solidFill>
              </a:rPr>
              <a:t>04.</a:t>
            </a:r>
          </a:p>
        </p:txBody>
      </p:sp>
      <p:sp>
        <p:nvSpPr>
          <p:cNvPr id="3" name="Pfeil: Chevron 5">
            <a:hlinkClick r:id="rId18" action="ppaction://hlinksldjump"/>
            <a:extLst>
              <a:ext uri="{FF2B5EF4-FFF2-40B4-BE49-F238E27FC236}">
                <a16:creationId xmlns:a16="http://schemas.microsoft.com/office/drawing/2014/main" id="{906849DF-233F-8702-D15F-301BB3FCA86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 err="1">
                <a:solidFill>
                  <a:schemeClr val="tx1"/>
                </a:solidFill>
              </a:rPr>
              <a:t>Voltar</a:t>
            </a:r>
            <a:r>
              <a:rPr lang="en-US" b="1">
                <a:solidFill>
                  <a:schemeClr val="tx1"/>
                </a:solidFill>
              </a:rPr>
              <a:t> Multi</a:t>
            </a:r>
          </a:p>
        </p:txBody>
      </p:sp>
    </p:spTree>
    <p:extLst>
      <p:ext uri="{BB962C8B-B14F-4D97-AF65-F5344CB8AC3E}">
        <p14:creationId xmlns:p14="http://schemas.microsoft.com/office/powerpoint/2010/main" val="1811262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680755-32F3-9B61-9D10-5B728B9980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708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80755-32F3-9B61-9D10-5B728B998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6341B7A2-A454-9F5D-312E-2F36C098516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resentação / Abordagem</a:t>
            </a:r>
            <a:r>
              <a:rPr lang="en-US" sz="3600" b="1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16AF0713-0639-8DF2-AC93-BEF4756B4B5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32" y="1171851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86B51255-3B23-5393-5E28-780F22D710BB}"/>
              </a:ext>
            </a:extLst>
          </p:cNvPr>
          <p:cNvSpPr txBox="1">
            <a:spLocks/>
          </p:cNvSpPr>
          <p:nvPr/>
        </p:nvSpPr>
        <p:spPr>
          <a:xfrm>
            <a:off x="104411" y="1952051"/>
            <a:ext cx="2916131" cy="284693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rgbClr val="000000"/>
                </a:solidFill>
                <a:sym typeface="Futura"/>
              </a:rPr>
              <a:t>Apresentação</a:t>
            </a:r>
            <a:endParaRPr lang="en-US" sz="1400" b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Chamar o cliente pelo nome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Apresentar-se com nome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Informar que é da Claro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  <a:sym typeface="Futura"/>
              </a:rPr>
              <a:t>Abordagem</a:t>
            </a:r>
            <a:endParaRPr lang="en-US" sz="1400" b="1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Informar o plano atual Pré Pago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Ressaltar benefício do Controle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b="1" noProof="1">
              <a:solidFill>
                <a:schemeClr val="accent1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E6A85856-AE4E-B63F-F40A-2824BC538B13}"/>
              </a:ext>
            </a:extLst>
          </p:cNvPr>
          <p:cNvSpPr txBox="1">
            <a:spLocks/>
          </p:cNvSpPr>
          <p:nvPr/>
        </p:nvSpPr>
        <p:spPr>
          <a:xfrm>
            <a:off x="770719" y="138427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rgbClr val="C00000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0A5CB8FF-B7F8-0211-75B2-FEB8C68318AF}"/>
              </a:ext>
            </a:extLst>
          </p:cNvPr>
          <p:cNvGrpSpPr>
            <a:grpSpLocks/>
          </p:cNvGrpSpPr>
          <p:nvPr/>
        </p:nvGrpSpPr>
        <p:grpSpPr>
          <a:xfrm>
            <a:off x="2869430" y="1169813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B3DD2229-6F44-34DE-B6C7-B70983BB9960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C164F6BD-4FAC-2105-2F40-3C3CC5BA58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AA706A20-63A9-4B25-6127-717736A16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DE22A8C0-B3A1-FD18-2149-9BFF3E1B3128}"/>
              </a:ext>
            </a:extLst>
          </p:cNvPr>
          <p:cNvSpPr txBox="1">
            <a:spLocks/>
          </p:cNvSpPr>
          <p:nvPr/>
        </p:nvSpPr>
        <p:spPr>
          <a:xfrm>
            <a:off x="4538935" y="2055370"/>
            <a:ext cx="7246924" cy="333245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Nome do cliente </a:t>
            </a:r>
            <a:r>
              <a:rPr lang="pt-BR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verificar no card),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bom dia </a:t>
            </a:r>
            <a:r>
              <a:rPr lang="pt-BR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tarde ou noite)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, sou a </a:t>
            </a:r>
            <a:r>
              <a:rPr lang="pt-BR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o) (informar seu nome)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da sua operadora </a:t>
            </a: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Claro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O plano que você tem conosco é um </a:t>
            </a: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Pré-Pago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e temos uma oferta </a:t>
            </a: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Controle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 para você navegar na internet, falar muito,  sabendo exatamente o quanto vai pagar na fatura no final do mês.</a:t>
            </a:r>
            <a:endParaRPr lang="en-US" sz="24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Futura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DDB98F19-D0A7-EF77-4283-7E915F382A1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87197" y="3200686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93F54ECE-8BD6-6670-BAC8-06C39CD61730}"/>
              </a:ext>
            </a:extLst>
          </p:cNvPr>
          <p:cNvSpPr txBox="1">
            <a:spLocks/>
          </p:cNvSpPr>
          <p:nvPr/>
        </p:nvSpPr>
        <p:spPr>
          <a:xfrm>
            <a:off x="3169483" y="424250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87803B20-F9F6-CD24-B078-0F46F760D73B}"/>
              </a:ext>
            </a:extLst>
          </p:cNvPr>
          <p:cNvSpPr txBox="1">
            <a:spLocks/>
          </p:cNvSpPr>
          <p:nvPr/>
        </p:nvSpPr>
        <p:spPr>
          <a:xfrm>
            <a:off x="791976" y="4986952"/>
            <a:ext cx="2916131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rgbClr val="C00000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33445271-D4B2-581D-DADC-E1B13C88E2B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707" y="4798984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472ED50D-02C1-A957-3E2E-AA8636BFCB84}"/>
              </a:ext>
            </a:extLst>
          </p:cNvPr>
          <p:cNvSpPr txBox="1">
            <a:spLocks/>
          </p:cNvSpPr>
          <p:nvPr/>
        </p:nvSpPr>
        <p:spPr>
          <a:xfrm>
            <a:off x="104411" y="5717052"/>
            <a:ext cx="2916131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Essa etapa é importante para t</a:t>
            </a:r>
            <a:r>
              <a:rPr lang="en-US" sz="1400" noProof="1">
                <a:solidFill>
                  <a:srgbClr val="000000"/>
                </a:solidFill>
                <a:sym typeface="Futura"/>
              </a:rPr>
              <a:t>er a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pt-BR" sz="1400">
                <a:solidFill>
                  <a:srgbClr val="000000"/>
                </a:solidFill>
                <a:sym typeface="Futura"/>
              </a:rPr>
              <a:t>atençã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do </a:t>
            </a:r>
            <a:r>
              <a:rPr lang="en-US" sz="1400" noProof="1">
                <a:solidFill>
                  <a:srgbClr val="000000"/>
                </a:solidFill>
                <a:sym typeface="Futura"/>
              </a:rPr>
              <a:t>cliente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</a:t>
            </a:r>
            <a:endParaRPr lang="en-US" sz="1400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56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81E3E483-68F8-9F04-8D89-08B948F9D8B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  <p:sp>
        <p:nvSpPr>
          <p:cNvPr id="57" name="Pfeil: Chevron 5">
            <a:hlinkClick r:id="rId16" action="ppaction://hlinksldjump"/>
            <a:extLst>
              <a:ext uri="{FF2B5EF4-FFF2-40B4-BE49-F238E27FC236}">
                <a16:creationId xmlns:a16="http://schemas.microsoft.com/office/drawing/2014/main" id="{09F99E05-AFE2-9752-2DD1-0B549A4E07C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031328F4-3CC1-804D-82F8-71DE231D5C0A}"/>
              </a:ext>
            </a:extLst>
          </p:cNvPr>
          <p:cNvSpPr txBox="1">
            <a:spLocks/>
          </p:cNvSpPr>
          <p:nvPr/>
        </p:nvSpPr>
        <p:spPr>
          <a:xfrm>
            <a:off x="132491" y="80426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Pré X Controle</a:t>
            </a:r>
            <a:endParaRPr lang="en-US" sz="1400" b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958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1126C-A838-DB9B-DAA0-7299007787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29CAA2-AA5B-5FA8-9B14-9CCBBBBD86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9CAA2-AA5B-5FA8-9B14-9CCBBBBD86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BED18B44-5890-D7F5-0EF3-DE3C9FC7C25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erta</a:t>
            </a:r>
            <a:endParaRPr lang="en-US" sz="36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4162E58E-5ABD-3D41-4F27-97BEF4C4BB0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3" y="1029642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30BC4ECB-ED75-DE4B-B560-B43E06B17C49}"/>
              </a:ext>
            </a:extLst>
          </p:cNvPr>
          <p:cNvSpPr txBox="1">
            <a:spLocks/>
          </p:cNvSpPr>
          <p:nvPr/>
        </p:nvSpPr>
        <p:spPr>
          <a:xfrm>
            <a:off x="132622" y="1668325"/>
            <a:ext cx="2916131" cy="253915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rgbClr val="000000"/>
                </a:solidFill>
                <a:sym typeface="Futura"/>
              </a:rPr>
              <a:t>Plan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Realize a oferta do plano de migração da móvel de acordo com as informações que estão disponíveis no card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Verificar o promomemo vigente com as vantagens e benefícios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289C0762-7BC2-0FEB-5A4C-FDDF6D7B9AD4}"/>
              </a:ext>
            </a:extLst>
          </p:cNvPr>
          <p:cNvSpPr txBox="1">
            <a:spLocks/>
          </p:cNvSpPr>
          <p:nvPr/>
        </p:nvSpPr>
        <p:spPr>
          <a:xfrm>
            <a:off x="745095" y="1347576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6FC9939B-0C4B-7A2B-1D44-CD3BBF499466}"/>
              </a:ext>
            </a:extLst>
          </p:cNvPr>
          <p:cNvGrpSpPr>
            <a:grpSpLocks/>
          </p:cNvGrpSpPr>
          <p:nvPr/>
        </p:nvGrpSpPr>
        <p:grpSpPr>
          <a:xfrm>
            <a:off x="2869430" y="1169813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BB2BDF87-5D78-7510-5F49-BD8D4AA312F0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83BFFCAA-9E36-E5AB-E1DB-C8621EE97E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6C4C5773-365D-E98A-9FD4-958DD61B19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D59963EA-CF3C-764B-101B-EB30041D810C}"/>
              </a:ext>
            </a:extLst>
          </p:cNvPr>
          <p:cNvSpPr txBox="1">
            <a:spLocks/>
          </p:cNvSpPr>
          <p:nvPr/>
        </p:nvSpPr>
        <p:spPr>
          <a:xfrm>
            <a:off x="4682534" y="1470949"/>
            <a:ext cx="7367654" cy="432881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0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Esse plano tem o </a:t>
            </a:r>
            <a:r>
              <a:rPr lang="pt-BR" sz="20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  <a:sym typeface="Futura"/>
              </a:rPr>
              <a:t>valor fixo mensal </a:t>
            </a:r>
            <a:r>
              <a:rPr lang="pt-BR" sz="20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de R$XX, o total de franquia é de XX GB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0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É muito mais internet para você ficar conectado. </a:t>
            </a:r>
            <a:r>
              <a:rPr lang="pt-BR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Além disso o whatsapp e ligações para o Brasil continuam ilimitado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Esse plano controle você tem bônus exclusivo para você utilizar nos principais aplicativos de redes sociais, como </a:t>
            </a:r>
            <a:r>
              <a:rPr lang="pt-BR" sz="20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Instagram, Youtube, TikTok e agora na Claro temos o Chat GPT</a:t>
            </a:r>
            <a:r>
              <a:rPr lang="pt-BR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 -  é a inovação na palma da sua mão!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en-US" sz="20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Futura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D3FF19E7-46D7-AB3C-DC25-32CDCDE421A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87197" y="3200686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6400A5F3-BF6A-EBFB-E578-F107424D543C}"/>
              </a:ext>
            </a:extLst>
          </p:cNvPr>
          <p:cNvSpPr txBox="1">
            <a:spLocks/>
          </p:cNvSpPr>
          <p:nvPr/>
        </p:nvSpPr>
        <p:spPr>
          <a:xfrm>
            <a:off x="3169483" y="424250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 noProof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 noProof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F421E8DF-C4FB-ABE3-57E3-5450704D97D1}"/>
              </a:ext>
            </a:extLst>
          </p:cNvPr>
          <p:cNvSpPr txBox="1">
            <a:spLocks/>
          </p:cNvSpPr>
          <p:nvPr/>
        </p:nvSpPr>
        <p:spPr>
          <a:xfrm>
            <a:off x="791976" y="4986952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 noProof="1">
                <a:solidFill>
                  <a:srgbClr val="C00000"/>
                </a:solidFill>
                <a:sym typeface="Futura"/>
              </a:rPr>
              <a:t>Observação</a:t>
            </a:r>
            <a:endParaRPr lang="en-US" b="1" noProof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D190F19C-8D9E-7093-8302-BF942974656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745" y="4721741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8799514C-3B3A-B670-A154-A2CB35A0D05A}"/>
              </a:ext>
            </a:extLst>
          </p:cNvPr>
          <p:cNvSpPr txBox="1">
            <a:spLocks/>
          </p:cNvSpPr>
          <p:nvPr/>
        </p:nvSpPr>
        <p:spPr>
          <a:xfrm>
            <a:off x="104411" y="5717052"/>
            <a:ext cx="2916131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Aproveite esse momento para explicar a vantagem para o cliente</a:t>
            </a:r>
            <a:endParaRPr lang="en-US" sz="1400" noProof="1">
              <a:solidFill>
                <a:schemeClr val="accent1"/>
              </a:solidFill>
            </a:endParaRPr>
          </a:p>
        </p:txBody>
      </p:sp>
      <p:sp>
        <p:nvSpPr>
          <p:cNvPr id="57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4F6E4140-8F13-96FB-A8C2-F402ED1FFCF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4" name="Textfeld 17">
            <a:extLst>
              <a:ext uri="{FF2B5EF4-FFF2-40B4-BE49-F238E27FC236}">
                <a16:creationId xmlns:a16="http://schemas.microsoft.com/office/drawing/2014/main" id="{7411FB92-8D0A-2CC9-171C-5464BEDE7058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6B12ACF7-656E-D77E-6F21-37475B5BDD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37573351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357F0-C65B-5276-EFA3-C187F0232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717CF64-A2CF-D141-64F2-E1EF699C2D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17CF64-A2CF-D141-64F2-E1EF699C2D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C2C9477B-BD1E-4A78-3AA4-8CB4030462B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icio do Cadastro</a:t>
            </a: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C145D5A0-453A-429C-8FF2-E425A7ECC36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411" y="827936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BD29F155-4771-31A5-8358-5EA4B4F21D61}"/>
              </a:ext>
            </a:extLst>
          </p:cNvPr>
          <p:cNvSpPr txBox="1">
            <a:spLocks/>
          </p:cNvSpPr>
          <p:nvPr/>
        </p:nvSpPr>
        <p:spPr>
          <a:xfrm>
            <a:off x="95741" y="1165087"/>
            <a:ext cx="2916131" cy="369331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rgbClr val="000000"/>
                </a:solidFill>
                <a:sym typeface="Futura"/>
              </a:rPr>
              <a:t>I</a:t>
            </a:r>
            <a:r>
              <a:rPr lang="en-US" sz="1400" b="1" noProof="1">
                <a:solidFill>
                  <a:srgbClr val="000000"/>
                </a:solidFill>
                <a:sym typeface="Futura"/>
              </a:rPr>
              <a:t>nicio do Cadastro</a:t>
            </a:r>
            <a:endParaRPr lang="en-US" sz="1400" b="1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Para conduzir ao cadastro, informe ao cliente que em até 24 horas o plano será alterado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Solicite o CPF – para iniciar o Cadastro no ativação simplificada caso não tenha disponibilidade de internet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Solicite o CEP para buscar o endereço no busca CEP e verificar a disponbilidade do multi na residencia do cliente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b="1" noProof="1">
              <a:solidFill>
                <a:schemeClr val="accent1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F5BD8C6B-01B1-75EE-30DA-BCD533F1A319}"/>
              </a:ext>
            </a:extLst>
          </p:cNvPr>
          <p:cNvSpPr txBox="1">
            <a:spLocks/>
          </p:cNvSpPr>
          <p:nvPr/>
        </p:nvSpPr>
        <p:spPr>
          <a:xfrm>
            <a:off x="778713" y="1145870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3E705CE1-900A-9DCD-6894-0E319482B950}"/>
              </a:ext>
            </a:extLst>
          </p:cNvPr>
          <p:cNvGrpSpPr>
            <a:grpSpLocks/>
          </p:cNvGrpSpPr>
          <p:nvPr/>
        </p:nvGrpSpPr>
        <p:grpSpPr>
          <a:xfrm>
            <a:off x="3029816" y="1169814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44343B2D-98BD-9B3F-929C-9DD69392C33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88F75840-5556-3453-7337-71D746BB5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9C049EA3-F01B-ECCA-D203-EDA98B4458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EEB88D15-E1FB-C463-682F-940F72F0F2A6}"/>
              </a:ext>
            </a:extLst>
          </p:cNvPr>
          <p:cNvSpPr txBox="1">
            <a:spLocks/>
          </p:cNvSpPr>
          <p:nvPr/>
        </p:nvSpPr>
        <p:spPr>
          <a:xfrm>
            <a:off x="4615248" y="1892192"/>
            <a:ext cx="7367654" cy="348633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Em até 24 horas seu plano será alterado para o controle com todos esses benefícios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pt-BR" sz="2400">
              <a:solidFill>
                <a:srgbClr val="000000"/>
              </a:solidFill>
              <a:latin typeface="Arial"/>
              <a:cs typeface="Arial"/>
              <a:sym typeface="Futura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 Por favor, pode me informar seu </a:t>
            </a: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  <a:sym typeface="Futura"/>
              </a:rPr>
              <a:t>CPF</a:t>
            </a:r>
            <a:r>
              <a:rPr lang="pt-BR" sz="24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 e </a:t>
            </a: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  <a:sym typeface="Futura"/>
              </a:rPr>
              <a:t>CEP</a:t>
            </a:r>
            <a:r>
              <a:rPr lang="pt-BR" sz="2400">
                <a:solidFill>
                  <a:srgbClr val="000000"/>
                </a:solidFill>
                <a:latin typeface="Arial"/>
                <a:cs typeface="Arial"/>
                <a:sym typeface="Futura"/>
              </a:rPr>
              <a:t> de sua residência?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en-US" sz="24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Futura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1273F7CB-CFA7-6004-AFA9-FCA1BAC4632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19277" y="3200686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237EE6A5-1254-F9E2-88B0-313A738EA1AB}"/>
              </a:ext>
            </a:extLst>
          </p:cNvPr>
          <p:cNvSpPr txBox="1">
            <a:spLocks/>
          </p:cNvSpPr>
          <p:nvPr/>
        </p:nvSpPr>
        <p:spPr>
          <a:xfrm>
            <a:off x="3301563" y="424250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 noProof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 noProof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E18316EF-05A5-1841-53AC-CF80F718D290}"/>
              </a:ext>
            </a:extLst>
          </p:cNvPr>
          <p:cNvSpPr txBox="1">
            <a:spLocks/>
          </p:cNvSpPr>
          <p:nvPr/>
        </p:nvSpPr>
        <p:spPr>
          <a:xfrm>
            <a:off x="778713" y="4586022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Observação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EDB5B2F2-6B96-EE97-6410-01277922AD2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82" y="4320811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17ADC4FC-1C9D-7069-027E-5500E7AE74BE}"/>
              </a:ext>
            </a:extLst>
          </p:cNvPr>
          <p:cNvSpPr txBox="1">
            <a:spLocks/>
          </p:cNvSpPr>
          <p:nvPr/>
        </p:nvSpPr>
        <p:spPr>
          <a:xfrm>
            <a:off x="112363" y="5047844"/>
            <a:ext cx="2938544" cy="15850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No site de busca do CEP trará o endereço, confirme com o cliente a Rua, solicite número e complemento (caso o cliente não saiba o CEP, solicite o endereço). 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Consute no Netsales a viabilidade técnica na marca NET. </a:t>
            </a:r>
            <a:endParaRPr lang="en-US" sz="1400" noProof="1">
              <a:solidFill>
                <a:schemeClr val="accent1"/>
              </a:solidFill>
            </a:endParaRPr>
          </a:p>
        </p:txBody>
      </p:sp>
      <p:sp>
        <p:nvSpPr>
          <p:cNvPr id="57" name="Pfeil: Chevron 5">
            <a:hlinkClick r:id="rId15" action="ppaction://hlinksldjump"/>
            <a:extLst>
              <a:ext uri="{FF2B5EF4-FFF2-40B4-BE49-F238E27FC236}">
                <a16:creationId xmlns:a16="http://schemas.microsoft.com/office/drawing/2014/main" id="{7D12EAA2-58A4-96E4-9805-A4B2FFEAD23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6784790" y="6278971"/>
            <a:ext cx="2629647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1600" b="1" noProof="1">
                <a:solidFill>
                  <a:schemeClr val="tx1"/>
                </a:solidFill>
              </a:rPr>
              <a:t>Disponível viabilidade técnica – Oferta Multi</a:t>
            </a:r>
          </a:p>
        </p:txBody>
      </p:sp>
      <p:sp>
        <p:nvSpPr>
          <p:cNvPr id="2" name="Pfeil: Chevron 5">
            <a:hlinkClick r:id="rId16" action="ppaction://hlinksldjump"/>
            <a:extLst>
              <a:ext uri="{FF2B5EF4-FFF2-40B4-BE49-F238E27FC236}">
                <a16:creationId xmlns:a16="http://schemas.microsoft.com/office/drawing/2014/main" id="{9393EAA7-02A4-426A-8824-976974217F8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9482628" y="6242155"/>
            <a:ext cx="2709372" cy="58795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1500" b="1" noProof="1">
                <a:solidFill>
                  <a:schemeClr val="tx1"/>
                </a:solidFill>
              </a:rPr>
              <a:t>Sem viabilidade técnica –  Aceitou Migração</a:t>
            </a:r>
          </a:p>
        </p:txBody>
      </p:sp>
      <p:sp>
        <p:nvSpPr>
          <p:cNvPr id="4" name="Textfeld 17">
            <a:extLst>
              <a:ext uri="{FF2B5EF4-FFF2-40B4-BE49-F238E27FC236}">
                <a16:creationId xmlns:a16="http://schemas.microsoft.com/office/drawing/2014/main" id="{32F91308-050E-5B24-7480-26384A1F1F21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</a:p>
        </p:txBody>
      </p:sp>
      <p:sp>
        <p:nvSpPr>
          <p:cNvPr id="6" name="Pfeil: Fünfeck 4">
            <a:hlinkClick r:id="rId17" action="ppaction://hlinksldjump"/>
            <a:extLst>
              <a:ext uri="{FF2B5EF4-FFF2-40B4-BE49-F238E27FC236}">
                <a16:creationId xmlns:a16="http://schemas.microsoft.com/office/drawing/2014/main" id="{CE050824-D3D1-4516-3BD7-D647742AE24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4615248" y="6270170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3634972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6AAC6-64EA-4FBF-AE66-FE7BB3A98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7E8771-6D34-FC12-B3AC-663282255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E8771-6D34-FC12-B3AC-663282255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72279F94-3DEF-B7CD-71A3-F6E2664D9F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28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mente Migração </a:t>
            </a:r>
            <a:endParaRPr lang="en-US" sz="3600" b="1" noProof="1">
              <a:solidFill>
                <a:schemeClr val="tx1"/>
              </a:solidFill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43EB2E61-0804-9AA2-79D2-662B34A6EA69}"/>
              </a:ext>
            </a:extLst>
          </p:cNvPr>
          <p:cNvGrpSpPr>
            <a:grpSpLocks/>
          </p:cNvGrpSpPr>
          <p:nvPr/>
        </p:nvGrpSpPr>
        <p:grpSpPr>
          <a:xfrm>
            <a:off x="2167713" y="1278662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E3BA2B1A-ECF8-5176-8356-6049AD561ACF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8B2B446C-BA70-D598-EE12-EDDAF9CD59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14C56488-A6CB-B0F3-1880-9E28492F1F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DABB2306-585C-41C9-1610-3CF383BF418E}"/>
              </a:ext>
            </a:extLst>
          </p:cNvPr>
          <p:cNvSpPr txBox="1">
            <a:spLocks/>
          </p:cNvSpPr>
          <p:nvPr/>
        </p:nvSpPr>
        <p:spPr>
          <a:xfrm>
            <a:off x="4563781" y="2407240"/>
            <a:ext cx="7367654" cy="23783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Tudo bem..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Vou seguir somente com a alteração do seu plano 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Pré pago para o Controle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en-US" sz="24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Futura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1F079B52-C831-4B80-DD58-0C26AADAF2C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942" y="3310604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AF24D085-B67A-269C-6A09-2893FB5069A6}"/>
              </a:ext>
            </a:extLst>
          </p:cNvPr>
          <p:cNvSpPr txBox="1">
            <a:spLocks/>
          </p:cNvSpPr>
          <p:nvPr/>
        </p:nvSpPr>
        <p:spPr>
          <a:xfrm>
            <a:off x="2574942" y="4570140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 noProof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 noProof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Pfeil: Chevron 5">
            <a:hlinkClick r:id="rId9" action="ppaction://hlinksldjump"/>
            <a:extLst>
              <a:ext uri="{FF2B5EF4-FFF2-40B4-BE49-F238E27FC236}">
                <a16:creationId xmlns:a16="http://schemas.microsoft.com/office/drawing/2014/main" id="{936AD607-A139-1083-9102-5592532003F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60166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579ADF0C-A305-36BE-96FB-9A2C6573B82A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113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22F82-46E0-253C-A22D-067259014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92A7A3-BDCD-DB15-45F9-D49241EC8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92A7A3-BDCD-DB15-45F9-D49241EC8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3B82F46F-64BB-8B04-A256-1C294C058439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dos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ssoais</a:t>
            </a:r>
            <a:endParaRPr lang="en-US" sz="36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14658C4D-C980-C029-8100-D2B37C77DF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411" y="827936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A0AAC360-B58B-A5F6-8578-7834F2BE346C}"/>
              </a:ext>
            </a:extLst>
          </p:cNvPr>
          <p:cNvSpPr txBox="1">
            <a:spLocks/>
          </p:cNvSpPr>
          <p:nvPr/>
        </p:nvSpPr>
        <p:spPr>
          <a:xfrm>
            <a:off x="132622" y="1444208"/>
            <a:ext cx="2916131" cy="232371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  <a:sym typeface="Futura"/>
              </a:rPr>
              <a:t>Somente Migração</a:t>
            </a:r>
            <a:endParaRPr lang="en-US" sz="1400" b="1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Continue com o Cadastro no ativação simplificada somente da móvel sem mencionar o Multi</a:t>
            </a:r>
            <a:endParaRPr lang="en-US" sz="1400" noProof="1">
              <a:solidFill>
                <a:srgbClr val="000000"/>
              </a:solidFill>
            </a:endParaRP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  <a:sym typeface="Futura"/>
              </a:rPr>
              <a:t>Dados Pessoais</a:t>
            </a:r>
            <a:endParaRPr lang="en-US" sz="1400" b="1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Nome completo, Data de nascimento, Nome da mãe, telefone e e-mail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b="1" noProof="1">
              <a:solidFill>
                <a:schemeClr val="accent1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C5076A86-6E3E-CF54-6214-FC5EC9D9C3A6}"/>
              </a:ext>
            </a:extLst>
          </p:cNvPr>
          <p:cNvSpPr txBox="1">
            <a:spLocks/>
          </p:cNvSpPr>
          <p:nvPr/>
        </p:nvSpPr>
        <p:spPr>
          <a:xfrm>
            <a:off x="778713" y="112873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E8E7F427-5BAC-8E53-34D8-A639853D2C9D}"/>
              </a:ext>
            </a:extLst>
          </p:cNvPr>
          <p:cNvGrpSpPr>
            <a:grpSpLocks/>
          </p:cNvGrpSpPr>
          <p:nvPr/>
        </p:nvGrpSpPr>
        <p:grpSpPr>
          <a:xfrm>
            <a:off x="2869430" y="1169814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E1E96142-188C-6157-144D-4F24EC40E7DF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E596771C-6CAE-B2E7-B8E8-2A7762930C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D16F809E-3DD3-28AE-CAEA-8834A72BF1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89EBEC67-4CBA-37A4-AF7C-145BBFE1422E}"/>
              </a:ext>
            </a:extLst>
          </p:cNvPr>
          <p:cNvSpPr txBox="1">
            <a:spLocks/>
          </p:cNvSpPr>
          <p:nvPr/>
        </p:nvSpPr>
        <p:spPr>
          <a:xfrm>
            <a:off x="4717280" y="1963196"/>
            <a:ext cx="7367654" cy="38864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Seu nome completo é </a:t>
            </a:r>
            <a:r>
              <a:rPr lang="pt-BR" sz="20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cliente verbaliza),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sua data de nascimento </a:t>
            </a:r>
            <a:r>
              <a:rPr lang="pt-BR" sz="20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cliente verbaliza),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nome da sua mãe </a:t>
            </a:r>
            <a:r>
              <a:rPr lang="pt-BR" sz="20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cliente verbaliza),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RG </a:t>
            </a:r>
            <a:r>
              <a:rPr lang="pt-BR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cliente verbaliza),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vou cadastrar o número que estamos falando para contato </a:t>
            </a:r>
            <a:r>
              <a:rPr lang="pt-BR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(operador verbaliza)</a:t>
            </a:r>
            <a:r>
              <a:rPr lang="pt-BR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, </a:t>
            </a:r>
            <a:r>
              <a:rPr lang="pt-BR"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Futura"/>
              </a:rPr>
              <a:t>qual é o seu e-mail para você ter acesso a todas as informações da sua compra.</a:t>
            </a: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endParaRPr lang="en-US" sz="24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Futura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2D5F3B30-63E3-D60E-6890-55E689DF621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87197" y="3200686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E50DD12F-FBB7-4225-C918-D2E152595BB1}"/>
              </a:ext>
            </a:extLst>
          </p:cNvPr>
          <p:cNvSpPr txBox="1">
            <a:spLocks/>
          </p:cNvSpPr>
          <p:nvPr/>
        </p:nvSpPr>
        <p:spPr>
          <a:xfrm>
            <a:off x="3169483" y="424250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 noProof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 noProof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740C2ED8-AE89-6FB2-D05B-E16B360B3FA4}"/>
              </a:ext>
            </a:extLst>
          </p:cNvPr>
          <p:cNvSpPr txBox="1">
            <a:spLocks/>
          </p:cNvSpPr>
          <p:nvPr/>
        </p:nvSpPr>
        <p:spPr>
          <a:xfrm>
            <a:off x="727509" y="3863214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 noProof="1">
                <a:solidFill>
                  <a:srgbClr val="C00000"/>
                </a:solidFill>
                <a:sym typeface="Futura"/>
              </a:rPr>
              <a:t>Observação</a:t>
            </a:r>
            <a:endParaRPr lang="en-US" b="1" noProof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22C02402-4089-D756-4A22-717232CE46A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4278" y="3598003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2378281C-63CD-8EBB-04F1-810D2E543CC3}"/>
              </a:ext>
            </a:extLst>
          </p:cNvPr>
          <p:cNvSpPr txBox="1">
            <a:spLocks/>
          </p:cNvSpPr>
          <p:nvPr/>
        </p:nvSpPr>
        <p:spPr>
          <a:xfrm>
            <a:off x="183709" y="4381714"/>
            <a:ext cx="2685722" cy="236988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  <a:sym typeface="Futura"/>
              </a:rPr>
              <a:t>Caso o cliente não queira informar o e-mail, informe que neste momento o e-mail é a única forma de enviar a documentação de compra, mas que em breve estará disponível no app minha claro e se preferir assim que tiver o e-mail entre em contato com a central de atendimento para que seja encaminhado os termos.</a:t>
            </a:r>
            <a:endParaRPr lang="pt-BR" sz="1400">
              <a:solidFill>
                <a:srgbClr val="000000"/>
              </a:solidFill>
            </a:endParaRPr>
          </a:p>
        </p:txBody>
      </p:sp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F822E43C-C751-FA91-0BDE-87ECAA37852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03296DB9-B703-07B4-3952-AF4AB6311FB7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F226F7B1-9B05-5DBD-6528-A245B180C4C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3034882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EA653-37ED-9E57-96E0-F5D333FE2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E77381A-AC66-482F-170B-B6A428B266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7381A-AC66-482F-170B-B6A428B2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feil: Fünfeck 4">
            <a:extLst>
              <a:ext uri="{FF2B5EF4-FFF2-40B4-BE49-F238E27FC236}">
                <a16:creationId xmlns:a16="http://schemas.microsoft.com/office/drawing/2014/main" id="{05A63A97-C8BA-4D9B-86AD-4BEB9071C39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4278" y="12362"/>
            <a:ext cx="11600779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  <a:effectLst>
            <a:glow rad="101600">
              <a:schemeClr val="bg1">
                <a:lumMod val="8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sz="36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dos </a:t>
            </a:r>
            <a:r>
              <a:rPr lang="en-US" sz="3600" b="1" noProof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reço</a:t>
            </a:r>
            <a:endParaRPr lang="en-US" sz="3600" b="1" noProof="1">
              <a:solidFill>
                <a:schemeClr val="tx1"/>
              </a:solidFill>
            </a:endParaRPr>
          </a:p>
        </p:txBody>
      </p:sp>
      <p:pic>
        <p:nvPicPr>
          <p:cNvPr id="25" name="Grafik 147">
            <a:extLst>
              <a:ext uri="{FF2B5EF4-FFF2-40B4-BE49-F238E27FC236}">
                <a16:creationId xmlns:a16="http://schemas.microsoft.com/office/drawing/2014/main" id="{D1335C4C-6058-A4AC-A685-9451AD1F052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411" y="827936"/>
            <a:ext cx="674302" cy="674302"/>
          </a:xfrm>
          <a:prstGeom prst="rect">
            <a:avLst/>
          </a:prstGeom>
        </p:spPr>
      </p:pic>
      <p:sp>
        <p:nvSpPr>
          <p:cNvPr id="26" name="Textfeld 17">
            <a:extLst>
              <a:ext uri="{FF2B5EF4-FFF2-40B4-BE49-F238E27FC236}">
                <a16:creationId xmlns:a16="http://schemas.microsoft.com/office/drawing/2014/main" id="{45F5B491-AC46-EF75-0646-D1BFE883D006}"/>
              </a:ext>
            </a:extLst>
          </p:cNvPr>
          <p:cNvSpPr txBox="1">
            <a:spLocks/>
          </p:cNvSpPr>
          <p:nvPr/>
        </p:nvSpPr>
        <p:spPr>
          <a:xfrm>
            <a:off x="196715" y="1684705"/>
            <a:ext cx="2672716" cy="195438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rgbClr val="000000"/>
                </a:solidFill>
                <a:sym typeface="Futura"/>
              </a:rPr>
              <a:t>Endereço</a:t>
            </a:r>
            <a:endParaRPr lang="en-US" sz="1400" b="1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  <a:sym typeface="Futura"/>
              </a:rPr>
              <a:t>Preencha de acordo com as informações que o cliente passou no Inicio do Cadastro.</a:t>
            </a:r>
            <a:endParaRPr lang="en-US" sz="1400" noProof="1">
              <a:solidFill>
                <a:srgbClr val="0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rgbClr val="000000"/>
                </a:solidFill>
              </a:rPr>
              <a:t>Logradouro, número, complemento, bairro, cidade, estado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b="1" noProof="1">
              <a:solidFill>
                <a:schemeClr val="accent1"/>
              </a:solidFill>
            </a:endParaRPr>
          </a:p>
        </p:txBody>
      </p:sp>
      <p:sp>
        <p:nvSpPr>
          <p:cNvPr id="27" name="Textfeld 17">
            <a:extLst>
              <a:ext uri="{FF2B5EF4-FFF2-40B4-BE49-F238E27FC236}">
                <a16:creationId xmlns:a16="http://schemas.microsoft.com/office/drawing/2014/main" id="{1AD8102A-031E-ACB9-31F7-94770ACC49E8}"/>
              </a:ext>
            </a:extLst>
          </p:cNvPr>
          <p:cNvSpPr txBox="1">
            <a:spLocks/>
          </p:cNvSpPr>
          <p:nvPr/>
        </p:nvSpPr>
        <p:spPr>
          <a:xfrm>
            <a:off x="778713" y="1128737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>
                <a:solidFill>
                  <a:srgbClr val="C00000"/>
                </a:solidFill>
                <a:sym typeface="Futura"/>
              </a:rPr>
              <a:t>Checklist</a:t>
            </a:r>
            <a:endParaRPr lang="en-US" b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2" name="Gruppieren 4">
            <a:extLst>
              <a:ext uri="{FF2B5EF4-FFF2-40B4-BE49-F238E27FC236}">
                <a16:creationId xmlns:a16="http://schemas.microsoft.com/office/drawing/2014/main" id="{9951A312-A569-285A-BA58-C90FF843756E}"/>
              </a:ext>
            </a:extLst>
          </p:cNvPr>
          <p:cNvGrpSpPr>
            <a:grpSpLocks/>
          </p:cNvGrpSpPr>
          <p:nvPr/>
        </p:nvGrpSpPr>
        <p:grpSpPr>
          <a:xfrm>
            <a:off x="2869430" y="1169813"/>
            <a:ext cx="243413" cy="5347466"/>
            <a:chOff x="3945748" y="1965960"/>
            <a:chExt cx="148219" cy="3434627"/>
          </a:xfrm>
        </p:grpSpPr>
        <p:sp>
          <p:nvSpPr>
            <p:cNvPr id="33" name="Gleichschenkliges Dreieck 15">
              <a:extLst>
                <a:ext uri="{FF2B5EF4-FFF2-40B4-BE49-F238E27FC236}">
                  <a16:creationId xmlns:a16="http://schemas.microsoft.com/office/drawing/2014/main" id="{C9C0239E-043D-DC6F-0CCC-24F43FAACC86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">
              <a:extLst>
                <a:ext uri="{FF2B5EF4-FFF2-40B4-BE49-F238E27FC236}">
                  <a16:creationId xmlns:a16="http://schemas.microsoft.com/office/drawing/2014/main" id="{C03B879F-48AD-3B3A-36B6-ECF95AA101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7">
              <a:extLst>
                <a:ext uri="{FF2B5EF4-FFF2-40B4-BE49-F238E27FC236}">
                  <a16:creationId xmlns:a16="http://schemas.microsoft.com/office/drawing/2014/main" id="{5B2E6CF7-9BB1-7897-D04A-E3E8DA121F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17">
            <a:extLst>
              <a:ext uri="{FF2B5EF4-FFF2-40B4-BE49-F238E27FC236}">
                <a16:creationId xmlns:a16="http://schemas.microsoft.com/office/drawing/2014/main" id="{C6B540F4-40AC-F2A3-1392-BC911E1FEA72}"/>
              </a:ext>
            </a:extLst>
          </p:cNvPr>
          <p:cNvSpPr txBox="1">
            <a:spLocks/>
          </p:cNvSpPr>
          <p:nvPr/>
        </p:nvSpPr>
        <p:spPr>
          <a:xfrm>
            <a:off x="4717280" y="1963196"/>
            <a:ext cx="7367654" cy="167045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(</a:t>
            </a:r>
            <a:r>
              <a:rPr lang="pt-BR" sz="2000" i="1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Nome do cliente</a:t>
            </a:r>
            <a:r>
              <a:rPr lang="pt-BR" sz="2400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), então seu endereço é (</a:t>
            </a:r>
            <a:r>
              <a:rPr lang="pt-BR" sz="2000" i="1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Logradouro</a:t>
            </a:r>
            <a:r>
              <a:rPr lang="pt-BR" sz="2400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), Número xx, complemento, bairro, cidade, estado. </a:t>
            </a:r>
            <a:endParaRPr lang="pt-BR" sz="2400" noProof="1">
              <a:solidFill>
                <a:srgbClr val="000000"/>
              </a:solidFill>
              <a:latin typeface="Arial"/>
              <a:cs typeface="Arial"/>
            </a:endParaRPr>
          </a:p>
          <a:p>
            <a:pPr marL="0" lvl="1">
              <a:lnSpc>
                <a:spcPct val="150000"/>
              </a:lnSpc>
              <a:spcAft>
                <a:spcPts val="600"/>
              </a:spcAft>
              <a:buClr>
                <a:srgbClr val="000000"/>
              </a:buClr>
            </a:pPr>
            <a:r>
              <a:rPr lang="pt-BR" sz="2400" noProof="1">
                <a:solidFill>
                  <a:srgbClr val="000000"/>
                </a:solidFill>
                <a:latin typeface="Arial"/>
                <a:cs typeface="Arial"/>
                <a:sym typeface="Futura"/>
              </a:rPr>
              <a:t>Está correto?</a:t>
            </a:r>
            <a:endParaRPr lang="pt-BR" sz="24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43" name="Grafik 53">
            <a:extLst>
              <a:ext uri="{FF2B5EF4-FFF2-40B4-BE49-F238E27FC236}">
                <a16:creationId xmlns:a16="http://schemas.microsoft.com/office/drawing/2014/main" id="{A17B29E3-79D8-579B-2DF5-4FE1E82CE5E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87197" y="3200686"/>
            <a:ext cx="1041821" cy="1041821"/>
          </a:xfrm>
          <a:prstGeom prst="rect">
            <a:avLst/>
          </a:prstGeom>
        </p:spPr>
      </p:pic>
      <p:sp>
        <p:nvSpPr>
          <p:cNvPr id="44" name="Textfeld 17">
            <a:extLst>
              <a:ext uri="{FF2B5EF4-FFF2-40B4-BE49-F238E27FC236}">
                <a16:creationId xmlns:a16="http://schemas.microsoft.com/office/drawing/2014/main" id="{C46E674E-9139-63CF-5394-62C6A7FD0798}"/>
              </a:ext>
            </a:extLst>
          </p:cNvPr>
          <p:cNvSpPr txBox="1">
            <a:spLocks/>
          </p:cNvSpPr>
          <p:nvPr/>
        </p:nvSpPr>
        <p:spPr>
          <a:xfrm>
            <a:off x="3169483" y="4242507"/>
            <a:ext cx="1369452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800" b="1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Futura"/>
              </a:rPr>
              <a:t>Roteiro</a:t>
            </a:r>
            <a:endParaRPr lang="en-US" sz="2800" b="1" err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C1A2A616-F1DD-EDD8-764F-1F897F763CEA}"/>
              </a:ext>
            </a:extLst>
          </p:cNvPr>
          <p:cNvSpPr txBox="1">
            <a:spLocks/>
          </p:cNvSpPr>
          <p:nvPr/>
        </p:nvSpPr>
        <p:spPr>
          <a:xfrm>
            <a:off x="707529" y="4370689"/>
            <a:ext cx="2916131" cy="63094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b="1" noProof="1">
                <a:solidFill>
                  <a:srgbClr val="C00000"/>
                </a:solidFill>
                <a:sym typeface="Futura"/>
              </a:rPr>
              <a:t>Observação</a:t>
            </a:r>
            <a:endParaRPr lang="en-US" b="1" noProof="1">
              <a:solidFill>
                <a:srgbClr val="C00000"/>
              </a:solidFill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pic>
        <p:nvPicPr>
          <p:cNvPr id="46" name="Grafik 63">
            <a:extLst>
              <a:ext uri="{FF2B5EF4-FFF2-40B4-BE49-F238E27FC236}">
                <a16:creationId xmlns:a16="http://schemas.microsoft.com/office/drawing/2014/main" id="{5B55BCD2-439D-232E-DDE1-D1491672543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5702" y="4105478"/>
            <a:ext cx="671012" cy="671012"/>
          </a:xfrm>
          <a:prstGeom prst="rect">
            <a:avLst/>
          </a:prstGeom>
        </p:spPr>
      </p:pic>
      <p:sp>
        <p:nvSpPr>
          <p:cNvPr id="47" name="Textfeld 17">
            <a:extLst>
              <a:ext uri="{FF2B5EF4-FFF2-40B4-BE49-F238E27FC236}">
                <a16:creationId xmlns:a16="http://schemas.microsoft.com/office/drawing/2014/main" id="{40123BFB-DEB7-4E2E-12C0-0973CF19EF86}"/>
              </a:ext>
            </a:extLst>
          </p:cNvPr>
          <p:cNvSpPr txBox="1">
            <a:spLocks/>
          </p:cNvSpPr>
          <p:nvPr/>
        </p:nvSpPr>
        <p:spPr>
          <a:xfrm>
            <a:off x="53896" y="4898417"/>
            <a:ext cx="2916131" cy="17235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400">
                <a:solidFill>
                  <a:srgbClr val="000000"/>
                </a:solidFill>
                <a:sym typeface="Futura"/>
              </a:rPr>
              <a:t> Em alguns casos o sistema é BLOQUEADO para EDIÇÃO DE DADOS. Isso não impede de prosseguir com a venda. Mas, se houver informações divergentes, oriente o cliente a até uma Loja Própria da Claro para correção do cadastro.</a:t>
            </a:r>
            <a:endParaRPr lang="en-US" sz="1400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4" name="Pfeil: Chevron 5">
            <a:hlinkClick r:id="rId14" action="ppaction://hlinksldjump"/>
            <a:extLst>
              <a:ext uri="{FF2B5EF4-FFF2-40B4-BE49-F238E27FC236}">
                <a16:creationId xmlns:a16="http://schemas.microsoft.com/office/drawing/2014/main" id="{DE0F8283-17B0-AB1F-3232-46DFF4C40F5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9986895" y="6313714"/>
            <a:ext cx="2205105" cy="531924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chemeClr val="tx1"/>
                </a:solidFill>
              </a:rPr>
              <a:t>Continua</a:t>
            </a: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506FB26B-4BBA-F0EA-E048-CE6C7D2B888B}"/>
              </a:ext>
            </a:extLst>
          </p:cNvPr>
          <p:cNvSpPr txBox="1">
            <a:spLocks/>
          </p:cNvSpPr>
          <p:nvPr/>
        </p:nvSpPr>
        <p:spPr>
          <a:xfrm>
            <a:off x="104412" y="7109"/>
            <a:ext cx="1234532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Migração 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  <a:sym typeface="Futura"/>
              </a:rPr>
              <a:t>PréXControle</a:t>
            </a:r>
            <a:endParaRPr lang="en-US" sz="1400" b="1" noProof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Pfeil: Fünfeck 4">
            <a:hlinkClick r:id="rId15" action="ppaction://hlinksldjump"/>
            <a:extLst>
              <a:ext uri="{FF2B5EF4-FFF2-40B4-BE49-F238E27FC236}">
                <a16:creationId xmlns:a16="http://schemas.microsoft.com/office/drawing/2014/main" id="{ADB097E9-CBB8-C822-5D3D-387D039CC19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885544" y="6313714"/>
            <a:ext cx="2101351" cy="531924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tabLst>
                <a:tab pos="1798638" algn="r"/>
              </a:tabLst>
            </a:pPr>
            <a:r>
              <a:rPr lang="en-US" b="1">
                <a:solidFill>
                  <a:srgbClr val="C00000"/>
                </a:solidFill>
              </a:rPr>
              <a:t>Recusa</a:t>
            </a:r>
          </a:p>
        </p:txBody>
      </p:sp>
    </p:spTree>
    <p:extLst>
      <p:ext uri="{BB962C8B-B14F-4D97-AF65-F5344CB8AC3E}">
        <p14:creationId xmlns:p14="http://schemas.microsoft.com/office/powerpoint/2010/main" val="190923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a/4Sz6SEpBn/onj8OM6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a/4Sz6SEpBn/onj8OM6t4DRGF0YQAWAAAAAlBlcnNvbmFsSWQAAQAAAAAAAk5hbWUACwAAAFBlcnNvbmFsSWQAEFZlcnNpb24AAAAAAAlMYXN0V3JpdGUAIn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569010"/>
  <p:tag name="EMPOWERCHARTSPROPERTIES_A_LENGTH" val="24576"/>
  <p:tag name="RUNTIME_ID" val="a5cf02cc-2a56-4ccf-b8d1-95edfc8a8fe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pf4/FTHH1Km1maW6zxPc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pf4/FTHH1Km1maW6zxPcYDRGF0YQAWAAAAAlBlcnNvbmFsSWQAAQAAAAAAAk5hbWUACwAAAFBlcnNvbmFsSWQAEFZlcnNpb24AAAAAAAlMYXN0V3JpdGUAUX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995602"/>
  <p:tag name="EMPOWERCHARTSPROPERTIES_A_LENGTH" val="24576"/>
  <p:tag name="RUNTIME_ID" val="8ebc731f-f656-4c75-bc51-ce00e484b3e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iCk1mKLXVDjDDRgaNB3Q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iCk1mKLXVDjDDRgaNB3QkDRGF0YQAWAAAAAlBlcnNvbmFsSWQAAQAAAAAAAk5hbWUACwAAAFBlcnNvbmFsSWQAEFZlcnNpb24AAAAAAAlMYXN0V3JpdGUAg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562164"/>
  <p:tag name="EMPOWERCHARTSPROPERTIES_A_LENGTH" val="24576"/>
  <p:tag name="RUNTIME_ID" val="a47a6b58-05d4-452f-98cf-17cb1e1c0dd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YLIE8XI9NNoBQOyFuYed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YLIE8XI9NNoBQOyFuYed8DRGF0YQAWAAAAAlBlcnNvbmFsSWQAAQAAAAAAAk5hbWUACwAAAFBlcnNvbmFsSWQAEFZlcnNpb24AAAAAAAlMYXN0V3JpdGUACX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833626"/>
  <p:tag name="EMPOWERCHARTSPROPERTIES_A_LENGTH" val="24576"/>
  <p:tag name="RUNTIME_ID" val="2d451f76-b1e7-43cf-8216-258d1b596108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5KfBUqlVdDmthDxechaE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5KfBUqlVdDmthDxechaE8DRGF0YQAWAAAAAlBlcnNvbmFsSWQAAQAAAAAAAk5hbWUACwAAAFBlcnNvbmFsSWQAEFZlcnNpb24AAAAAAAlMYXN0V3JpdGUAL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313416"/>
  <p:tag name="EMPOWERCHARTSPROPERTIES_A_LENGTH" val="24576"/>
  <p:tag name="RUNTIME_ID" val="a9c46273-a22e-4b0e-98fc-78ba4e2ec66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T1sGMDQEtLnu5lEHGuhc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T1sGMDQEtLnu5lEHGuhcADRGF0YQAWAAAAAlBlcnNvbmFsSWQAAQAAAAAAAk5hbWUACwAAAFBlcnNvbmFsSWQAEFZlcnNpb24AAAAAAAlMYXN0V3JpdGUAX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793884"/>
  <p:tag name="EMPOWERCHARTSPROPERTIES_A_LENGTH" val="24576"/>
  <p:tag name="RUNTIME_ID" val="ba18ce22-4b65-4816-b281-e490b8ad46f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a/4Sz6SEpBn/onj8OM6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a/4Sz6SEpBn/onj8OM6t4DRGF0YQAWAAAAAlBlcnNvbmFsSWQAAQAAAAAAAk5hbWUACwAAAFBlcnNvbmFsSWQAEFZlcnNpb24AAAAAAAlMYXN0V3JpdGUAIn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569010"/>
  <p:tag name="EMPOWERCHARTSPROPERTIES_A_LENGTH" val="24576"/>
  <p:tag name="RUNTIME_ID" val="a5cf02cc-2a56-4ccf-b8d1-95edfc8a8fe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pf4/FTHH1Km1maW6zxPc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pf4/FTHH1Km1maW6zxPcYDRGF0YQAWAAAAAlBlcnNvbmFsSWQAAQAAAAAAAk5hbWUACwAAAFBlcnNvbmFsSWQAEFZlcnNpb24AAAAAAAlMYXN0V3JpdGUAUX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995602"/>
  <p:tag name="EMPOWERCHARTSPROPERTIES_A_LENGTH" val="24576"/>
  <p:tag name="RUNTIME_ID" val="8ebc731f-f656-4c75-bc51-ce00e484b3e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iCk1mKLXVDjDDRgaNB3Q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iCk1mKLXVDjDDRgaNB3QkDRGF0YQAWAAAAAlBlcnNvbmFsSWQAAQAAAAAAAk5hbWUACwAAAFBlcnNvbmFsSWQAEFZlcnNpb24AAAAAAAlMYXN0V3JpdGUAg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562164"/>
  <p:tag name="EMPOWERCHARTSPROPERTIES_A_LENGTH" val="24576"/>
  <p:tag name="RUNTIME_ID" val="a47a6b58-05d4-452f-98cf-17cb1e1c0dd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YLIE8XI9NNoBQOyFuYed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YLIE8XI9NNoBQOyFuYed8DRGF0YQAWAAAAAlBlcnNvbmFsSWQAAQAAAAAAAk5hbWUACwAAAFBlcnNvbmFsSWQAEFZlcnNpb24AAAAAAAlMYXN0V3JpdGUACX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833626"/>
  <p:tag name="EMPOWERCHARTSPROPERTIES_A_LENGTH" val="24576"/>
  <p:tag name="RUNTIME_ID" val="2d451f76-b1e7-43cf-8216-258d1b596108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5KfBUqlVdDmthDxechaE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5KfBUqlVdDmthDxechaE8DRGF0YQAWAAAAAlBlcnNvbmFsSWQAAQAAAAAAAk5hbWUACwAAAFBlcnNvbmFsSWQAEFZlcnNpb24AAAAAAAlMYXN0V3JpdGUAL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313416"/>
  <p:tag name="EMPOWERCHARTSPROPERTIES_A_LENGTH" val="24576"/>
  <p:tag name="RUNTIME_ID" val="a9c46273-a22e-4b0e-98fc-78ba4e2ec66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T1sGMDQEtLnu5lEHGuhc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T1sGMDQEtLnu5lEHGuhcADRGF0YQAWAAAAAlBlcnNvbmFsSWQAAQAAAAAAAk5hbWUACwAAAFBlcnNvbmFsSWQAEFZlcnNpb24AAAAAAAlMYXN0V3JpdGUAX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793884"/>
  <p:tag name="EMPOWERCHARTSPROPERTIES_A_LENGTH" val="24576"/>
  <p:tag name="RUNTIME_ID" val="ba18ce22-4b65-4816-b281-e490b8ad46f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iCk1mKLXVDjDDRgaNB3Q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iCk1mKLXVDjDDRgaNB3QkDRGF0YQAWAAAAAlBlcnNvbmFsSWQAAQAAAAAAAk5hbWUACwAAAFBlcnNvbmFsSWQAEFZlcnNpb24AAAAAAAlMYXN0V3JpdGUAg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562164"/>
  <p:tag name="EMPOWERCHARTSPROPERTIES_A_LENGTH" val="24576"/>
  <p:tag name="RUNTIME_ID" val="a47a6b58-05d4-452f-98cf-17cb1e1c0dd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T1sGMDQEtLnu5lEHGuhc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T1sGMDQEtLnu5lEHGuhcADRGF0YQAWAAAAAlBlcnNvbmFsSWQAAQAAAAAAAk5hbWUACwAAAFBlcnNvbmFsSWQAEFZlcnNpb24AAAAAAAlMYXN0V3JpdGUAX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793884"/>
  <p:tag name="EMPOWERCHARTSPROPERTIES_A_LENGTH" val="24576"/>
  <p:tag name="RUNTIME_ID" val="ba18ce22-4b65-4816-b281-e490b8ad46f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6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7" baseType="lpstr">
      <vt:lpstr>Tema do Office</vt:lpstr>
      <vt:lpstr>PowerPoint Presentation</vt:lpstr>
      <vt:lpstr>Jornada de venda</vt:lpstr>
      <vt:lpstr>Etapas de v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REIA FERREIRA DE AGUIAR</dc:creator>
  <cp:revision>1</cp:revision>
  <dcterms:created xsi:type="dcterms:W3CDTF">2025-09-29T17:55:46Z</dcterms:created>
  <dcterms:modified xsi:type="dcterms:W3CDTF">2025-10-02T19:51:56Z</dcterms:modified>
</cp:coreProperties>
</file>